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97" r:id="rId4"/>
  </p:sldMasterIdLst>
  <p:notesMasterIdLst>
    <p:notesMasterId r:id="rId14"/>
  </p:notesMasterIdLst>
  <p:handoutMasterIdLst>
    <p:handoutMasterId r:id="rId15"/>
  </p:handoutMasterIdLst>
  <p:sldIdLst>
    <p:sldId id="304" r:id="rId5"/>
    <p:sldId id="351" r:id="rId6"/>
    <p:sldId id="352" r:id="rId7"/>
    <p:sldId id="4447" r:id="rId8"/>
    <p:sldId id="4448" r:id="rId9"/>
    <p:sldId id="4449" r:id="rId10"/>
    <p:sldId id="346" r:id="rId11"/>
    <p:sldId id="4445" r:id="rId12"/>
    <p:sldId id="4444" r:id="rId13"/>
  </p:sldIdLst>
  <p:sldSz cx="12192000" cy="6858000"/>
  <p:notesSz cx="6858000" cy="9144000"/>
  <p:embeddedFontLs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Consolas" panose="020B0609020204030204" pitchFamily="49" charset="0"/>
      <p:regular r:id="rId20"/>
      <p:bold r:id="rId21"/>
      <p:italic r:id="rId22"/>
      <p:boldItalic r:id="rId23"/>
    </p:embeddedFont>
    <p:embeddedFont>
      <p:font typeface="Montserrat" panose="020B0604020202020204" charset="0"/>
      <p:regular r:id="rId24"/>
      <p:bold r:id="rId25"/>
      <p:italic r:id="rId26"/>
      <p:boldItalic r:id="rId27"/>
    </p:embeddedFont>
    <p:embeddedFont>
      <p:font typeface="Montserrat SemiBold" panose="020B0604020202020204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ACAC8"/>
    <a:srgbClr val="9579D3"/>
    <a:srgbClr val="DA7F29"/>
    <a:srgbClr val="E1832A"/>
    <a:srgbClr val="E6862B"/>
    <a:srgbClr val="EC8A2C"/>
    <a:srgbClr val="1990DE"/>
    <a:srgbClr val="F98E2B"/>
    <a:srgbClr val="00B050"/>
    <a:srgbClr val="FF8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7F0EB4B-0508-4AA1-B76F-A524BF91DADB}" v="5" dt="2023-03-07T18:00:00.693"/>
    <p1510:client id="{3F172CE4-4CA5-4497-BBEA-DDCE98D5F967}" v="160" dt="2023-03-07T21:06:23.717"/>
    <p1510:client id="{5C0D5CE2-6D30-4C47-9428-6E7D20A73182}" v="105" dt="2023-03-07T16:54:39.272"/>
    <p1510:client id="{B05243DE-30AB-438C-BE47-84EA0200D95A}" v="183" dt="2023-03-07T21:14:34.422"/>
  </p1510:revLst>
</p1510:revInfo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3840"/>
        <p:guide orient="horz" pos="216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21" Type="http://schemas.openxmlformats.org/officeDocument/2006/relationships/font" Target="fonts/font6.fntdata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font" Target="fonts/font14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9.fntdata"/><Relationship Id="rId32" Type="http://schemas.openxmlformats.org/officeDocument/2006/relationships/tags" Target="tags/tag1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font" Target="fonts/font13.fntdata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font" Target="fonts/font4.fntdata"/><Relationship Id="rId31" Type="http://schemas.openxmlformats.org/officeDocument/2006/relationships/font" Target="fonts/font1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font" Target="fonts/font15.fntdata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stry, Rutvi" userId="S::rutvi.mistry@cotiviti.com::5fc3d3ce-a3a2-4982-9a25-842d5fac8f6f" providerId="AD" clId="Web-{27F0EB4B-0508-4AA1-B76F-A524BF91DADB}"/>
    <pc:docChg chg="modSld">
      <pc:chgData name="Mistry, Rutvi" userId="S::rutvi.mistry@cotiviti.com::5fc3d3ce-a3a2-4982-9a25-842d5fac8f6f" providerId="AD" clId="Web-{27F0EB4B-0508-4AA1-B76F-A524BF91DADB}" dt="2023-03-07T18:00:00.693" v="4" actId="1076"/>
      <pc:docMkLst>
        <pc:docMk/>
      </pc:docMkLst>
      <pc:sldChg chg="modSp">
        <pc:chgData name="Mistry, Rutvi" userId="S::rutvi.mistry@cotiviti.com::5fc3d3ce-a3a2-4982-9a25-842d5fac8f6f" providerId="AD" clId="Web-{27F0EB4B-0508-4AA1-B76F-A524BF91DADB}" dt="2023-03-07T18:00:00.693" v="4" actId="1076"/>
        <pc:sldMkLst>
          <pc:docMk/>
          <pc:sldMk cId="2612260147" sldId="4447"/>
        </pc:sldMkLst>
        <pc:spChg chg="mod">
          <ac:chgData name="Mistry, Rutvi" userId="S::rutvi.mistry@cotiviti.com::5fc3d3ce-a3a2-4982-9a25-842d5fac8f6f" providerId="AD" clId="Web-{27F0EB4B-0508-4AA1-B76F-A524BF91DADB}" dt="2023-03-07T17:59:52.927" v="1" actId="1076"/>
          <ac:spMkLst>
            <pc:docMk/>
            <pc:sldMk cId="2612260147" sldId="4447"/>
            <ac:spMk id="22" creationId="{77A5C61A-D485-318A-60A0-E8006AC4ABAC}"/>
          </ac:spMkLst>
        </pc:spChg>
        <pc:spChg chg="mod">
          <ac:chgData name="Mistry, Rutvi" userId="S::rutvi.mistry@cotiviti.com::5fc3d3ce-a3a2-4982-9a25-842d5fac8f6f" providerId="AD" clId="Web-{27F0EB4B-0508-4AA1-B76F-A524BF91DADB}" dt="2023-03-07T17:59:29.427" v="0" actId="1076"/>
          <ac:spMkLst>
            <pc:docMk/>
            <pc:sldMk cId="2612260147" sldId="4447"/>
            <ac:spMk id="26" creationId="{FEC444F3-0270-A7E3-FBB8-00A68D8C156E}"/>
          </ac:spMkLst>
        </pc:spChg>
        <pc:spChg chg="mod">
          <ac:chgData name="Mistry, Rutvi" userId="S::rutvi.mistry@cotiviti.com::5fc3d3ce-a3a2-4982-9a25-842d5fac8f6f" providerId="AD" clId="Web-{27F0EB4B-0508-4AA1-B76F-A524BF91DADB}" dt="2023-03-07T18:00:00.693" v="4" actId="1076"/>
          <ac:spMkLst>
            <pc:docMk/>
            <pc:sldMk cId="2612260147" sldId="4447"/>
            <ac:spMk id="43" creationId="{9C553CDB-7B61-439B-F7D7-5B36EC3FE1FD}"/>
          </ac:spMkLst>
        </pc:spChg>
        <pc:spChg chg="mod">
          <ac:chgData name="Mistry, Rutvi" userId="S::rutvi.mistry@cotiviti.com::5fc3d3ce-a3a2-4982-9a25-842d5fac8f6f" providerId="AD" clId="Web-{27F0EB4B-0508-4AA1-B76F-A524BF91DADB}" dt="2023-03-07T17:59:58.130" v="3" actId="1076"/>
          <ac:spMkLst>
            <pc:docMk/>
            <pc:sldMk cId="2612260147" sldId="4447"/>
            <ac:spMk id="44" creationId="{1D3082F4-C36C-7880-53BF-BEC002D61BF7}"/>
          </ac:spMkLst>
        </pc:spChg>
        <pc:cxnChg chg="mod">
          <ac:chgData name="Mistry, Rutvi" userId="S::rutvi.mistry@cotiviti.com::5fc3d3ce-a3a2-4982-9a25-842d5fac8f6f" providerId="AD" clId="Web-{27F0EB4B-0508-4AA1-B76F-A524BF91DADB}" dt="2023-03-07T17:59:55.271" v="2" actId="1076"/>
          <ac:cxnSpMkLst>
            <pc:docMk/>
            <pc:sldMk cId="2612260147" sldId="4447"/>
            <ac:cxnSpMk id="41" creationId="{E0B9EA0B-EC0E-27BA-F0A8-C675DC331667}"/>
          </ac:cxnSpMkLst>
        </pc:cxnChg>
      </pc:sldChg>
    </pc:docChg>
  </pc:docChgLst>
  <pc:docChgLst>
    <pc:chgData name="Mistry, Rutvi" userId="5fc3d3ce-a3a2-4982-9a25-842d5fac8f6f" providerId="ADAL" clId="{3F172CE4-4CA5-4497-BBEA-DDCE98D5F967}"/>
    <pc:docChg chg="undo custSel modSld">
      <pc:chgData name="Mistry, Rutvi" userId="5fc3d3ce-a3a2-4982-9a25-842d5fac8f6f" providerId="ADAL" clId="{3F172CE4-4CA5-4497-BBEA-DDCE98D5F967}" dt="2023-03-07T21:06:23.717" v="493" actId="692"/>
      <pc:docMkLst>
        <pc:docMk/>
      </pc:docMkLst>
      <pc:sldChg chg="modSp mod">
        <pc:chgData name="Mistry, Rutvi" userId="5fc3d3ce-a3a2-4982-9a25-842d5fac8f6f" providerId="ADAL" clId="{3F172CE4-4CA5-4497-BBEA-DDCE98D5F967}" dt="2023-03-07T20:33:01.284" v="481" actId="20577"/>
        <pc:sldMkLst>
          <pc:docMk/>
          <pc:sldMk cId="3630823581" sldId="346"/>
        </pc:sldMkLst>
        <pc:spChg chg="mod">
          <ac:chgData name="Mistry, Rutvi" userId="5fc3d3ce-a3a2-4982-9a25-842d5fac8f6f" providerId="ADAL" clId="{3F172CE4-4CA5-4497-BBEA-DDCE98D5F967}" dt="2023-03-07T20:33:01.284" v="481" actId="20577"/>
          <ac:spMkLst>
            <pc:docMk/>
            <pc:sldMk cId="3630823581" sldId="346"/>
            <ac:spMk id="16" creationId="{62D86179-C282-B447-AC41-D54AC0E97670}"/>
          </ac:spMkLst>
        </pc:spChg>
      </pc:sldChg>
      <pc:sldChg chg="modSp mod">
        <pc:chgData name="Mistry, Rutvi" userId="5fc3d3ce-a3a2-4982-9a25-842d5fac8f6f" providerId="ADAL" clId="{3F172CE4-4CA5-4497-BBEA-DDCE98D5F967}" dt="2023-03-07T17:50:23.703" v="168" actId="1076"/>
        <pc:sldMkLst>
          <pc:docMk/>
          <pc:sldMk cId="2676679215" sldId="352"/>
        </pc:sldMkLst>
        <pc:spChg chg="mod">
          <ac:chgData name="Mistry, Rutvi" userId="5fc3d3ce-a3a2-4982-9a25-842d5fac8f6f" providerId="ADAL" clId="{3F172CE4-4CA5-4497-BBEA-DDCE98D5F967}" dt="2023-03-07T17:47:26.465" v="18" actId="14100"/>
          <ac:spMkLst>
            <pc:docMk/>
            <pc:sldMk cId="2676679215" sldId="352"/>
            <ac:spMk id="12" creationId="{C3EBD3B0-112A-024F-A1B9-87B4D9F09A11}"/>
          </ac:spMkLst>
        </pc:spChg>
        <pc:spChg chg="mod">
          <ac:chgData name="Mistry, Rutvi" userId="5fc3d3ce-a3a2-4982-9a25-842d5fac8f6f" providerId="ADAL" clId="{3F172CE4-4CA5-4497-BBEA-DDCE98D5F967}" dt="2023-03-07T17:49:59.778" v="165" actId="20577"/>
          <ac:spMkLst>
            <pc:docMk/>
            <pc:sldMk cId="2676679215" sldId="352"/>
            <ac:spMk id="13" creationId="{A73AAD64-B892-224A-B88F-619EDAEDF494}"/>
          </ac:spMkLst>
        </pc:spChg>
        <pc:picChg chg="mod">
          <ac:chgData name="Mistry, Rutvi" userId="5fc3d3ce-a3a2-4982-9a25-842d5fac8f6f" providerId="ADAL" clId="{3F172CE4-4CA5-4497-BBEA-DDCE98D5F967}" dt="2023-03-07T17:50:23.703" v="168" actId="1076"/>
          <ac:picMkLst>
            <pc:docMk/>
            <pc:sldMk cId="2676679215" sldId="352"/>
            <ac:picMk id="5" creationId="{9FC0F0DE-C0C3-6E13-D907-2D9BCE3C3FE6}"/>
          </ac:picMkLst>
        </pc:picChg>
        <pc:picChg chg="mod">
          <ac:chgData name="Mistry, Rutvi" userId="5fc3d3ce-a3a2-4982-9a25-842d5fac8f6f" providerId="ADAL" clId="{3F172CE4-4CA5-4497-BBEA-DDCE98D5F967}" dt="2023-03-07T17:50:20.702" v="167" actId="1076"/>
          <ac:picMkLst>
            <pc:docMk/>
            <pc:sldMk cId="2676679215" sldId="352"/>
            <ac:picMk id="6" creationId="{AF668205-2AFF-B754-66D5-289474B33602}"/>
          </ac:picMkLst>
        </pc:picChg>
      </pc:sldChg>
      <pc:sldChg chg="modSp mod">
        <pc:chgData name="Mistry, Rutvi" userId="5fc3d3ce-a3a2-4982-9a25-842d5fac8f6f" providerId="ADAL" clId="{3F172CE4-4CA5-4497-BBEA-DDCE98D5F967}" dt="2023-03-07T20:33:08.208" v="489" actId="20577"/>
        <pc:sldMkLst>
          <pc:docMk/>
          <pc:sldMk cId="3289083668" sldId="4445"/>
        </pc:sldMkLst>
        <pc:spChg chg="mod">
          <ac:chgData name="Mistry, Rutvi" userId="5fc3d3ce-a3a2-4982-9a25-842d5fac8f6f" providerId="ADAL" clId="{3F172CE4-4CA5-4497-BBEA-DDCE98D5F967}" dt="2023-03-07T20:33:08.208" v="489" actId="20577"/>
          <ac:spMkLst>
            <pc:docMk/>
            <pc:sldMk cId="3289083668" sldId="4445"/>
            <ac:spMk id="2" creationId="{94176C69-4C28-4D28-A058-ABDA66C022A3}"/>
          </ac:spMkLst>
        </pc:spChg>
      </pc:sldChg>
      <pc:sldChg chg="addSp delSp modSp mod">
        <pc:chgData name="Mistry, Rutvi" userId="5fc3d3ce-a3a2-4982-9a25-842d5fac8f6f" providerId="ADAL" clId="{3F172CE4-4CA5-4497-BBEA-DDCE98D5F967}" dt="2023-03-07T21:06:23.717" v="493" actId="692"/>
        <pc:sldMkLst>
          <pc:docMk/>
          <pc:sldMk cId="2612260147" sldId="4447"/>
        </pc:sldMkLst>
        <pc:spChg chg="mod">
          <ac:chgData name="Mistry, Rutvi" userId="5fc3d3ce-a3a2-4982-9a25-842d5fac8f6f" providerId="ADAL" clId="{3F172CE4-4CA5-4497-BBEA-DDCE98D5F967}" dt="2023-03-07T19:13:19.363" v="471" actId="1076"/>
          <ac:spMkLst>
            <pc:docMk/>
            <pc:sldMk cId="2612260147" sldId="4447"/>
            <ac:spMk id="16" creationId="{96D1E3DC-3E26-4485-897B-B8870E826BB6}"/>
          </ac:spMkLst>
        </pc:spChg>
        <pc:spChg chg="mod">
          <ac:chgData name="Mistry, Rutvi" userId="5fc3d3ce-a3a2-4982-9a25-842d5fac8f6f" providerId="ADAL" clId="{3F172CE4-4CA5-4497-BBEA-DDCE98D5F967}" dt="2023-03-07T17:46:32.573" v="17" actId="33524"/>
          <ac:spMkLst>
            <pc:docMk/>
            <pc:sldMk cId="2612260147" sldId="4447"/>
            <ac:spMk id="18" creationId="{88BD854A-1A13-48C9-F7E0-DBE0034C84D5}"/>
          </ac:spMkLst>
        </pc:spChg>
        <pc:spChg chg="mod">
          <ac:chgData name="Mistry, Rutvi" userId="5fc3d3ce-a3a2-4982-9a25-842d5fac8f6f" providerId="ADAL" clId="{3F172CE4-4CA5-4497-BBEA-DDCE98D5F967}" dt="2023-03-07T18:31:54.257" v="428" actId="1076"/>
          <ac:spMkLst>
            <pc:docMk/>
            <pc:sldMk cId="2612260147" sldId="4447"/>
            <ac:spMk id="20" creationId="{19D2ADCB-99D2-E7E1-793A-B6EAC2CF8F09}"/>
          </ac:spMkLst>
        </pc:spChg>
        <pc:spChg chg="mod">
          <ac:chgData name="Mistry, Rutvi" userId="5fc3d3ce-a3a2-4982-9a25-842d5fac8f6f" providerId="ADAL" clId="{3F172CE4-4CA5-4497-BBEA-DDCE98D5F967}" dt="2023-03-07T17:52:14.691" v="259" actId="20577"/>
          <ac:spMkLst>
            <pc:docMk/>
            <pc:sldMk cId="2612260147" sldId="4447"/>
            <ac:spMk id="26" creationId="{FEC444F3-0270-A7E3-FBB8-00A68D8C156E}"/>
          </ac:spMkLst>
        </pc:spChg>
        <pc:spChg chg="mod">
          <ac:chgData name="Mistry, Rutvi" userId="5fc3d3ce-a3a2-4982-9a25-842d5fac8f6f" providerId="ADAL" clId="{3F172CE4-4CA5-4497-BBEA-DDCE98D5F967}" dt="2023-03-07T18:52:18.879" v="463" actId="1076"/>
          <ac:spMkLst>
            <pc:docMk/>
            <pc:sldMk cId="2612260147" sldId="4447"/>
            <ac:spMk id="28" creationId="{91036F58-549B-289B-E1BB-04CCB5D5DB7D}"/>
          </ac:spMkLst>
        </pc:spChg>
        <pc:spChg chg="mod">
          <ac:chgData name="Mistry, Rutvi" userId="5fc3d3ce-a3a2-4982-9a25-842d5fac8f6f" providerId="ADAL" clId="{3F172CE4-4CA5-4497-BBEA-DDCE98D5F967}" dt="2023-03-07T17:51:00.270" v="183" actId="20577"/>
          <ac:spMkLst>
            <pc:docMk/>
            <pc:sldMk cId="2612260147" sldId="4447"/>
            <ac:spMk id="30" creationId="{771267E2-E8F9-ECF4-8F3A-62EA0B1DF690}"/>
          </ac:spMkLst>
        </pc:spChg>
        <pc:spChg chg="mod">
          <ac:chgData name="Mistry, Rutvi" userId="5fc3d3ce-a3a2-4982-9a25-842d5fac8f6f" providerId="ADAL" clId="{3F172CE4-4CA5-4497-BBEA-DDCE98D5F967}" dt="2023-03-07T18:52:25.957" v="465" actId="1076"/>
          <ac:spMkLst>
            <pc:docMk/>
            <pc:sldMk cId="2612260147" sldId="4447"/>
            <ac:spMk id="34" creationId="{BD9631CC-2E2C-7CCF-74BC-E5926C18FCD3}"/>
          </ac:spMkLst>
        </pc:spChg>
        <pc:spChg chg="mod">
          <ac:chgData name="Mistry, Rutvi" userId="5fc3d3ce-a3a2-4982-9a25-842d5fac8f6f" providerId="ADAL" clId="{3F172CE4-4CA5-4497-BBEA-DDCE98D5F967}" dt="2023-03-07T18:10:09.559" v="343" actId="1036"/>
          <ac:spMkLst>
            <pc:docMk/>
            <pc:sldMk cId="2612260147" sldId="4447"/>
            <ac:spMk id="48" creationId="{0A9E4050-5383-8DF5-B902-599C577E2A24}"/>
          </ac:spMkLst>
        </pc:spChg>
        <pc:spChg chg="mod">
          <ac:chgData name="Mistry, Rutvi" userId="5fc3d3ce-a3a2-4982-9a25-842d5fac8f6f" providerId="ADAL" clId="{3F172CE4-4CA5-4497-BBEA-DDCE98D5F967}" dt="2023-03-07T18:07:11.154" v="285" actId="1076"/>
          <ac:spMkLst>
            <pc:docMk/>
            <pc:sldMk cId="2612260147" sldId="4447"/>
            <ac:spMk id="53" creationId="{FBA1F0F0-8A36-244B-82E1-E266B7F0733F}"/>
          </ac:spMkLst>
        </pc:spChg>
        <pc:spChg chg="mod">
          <ac:chgData name="Mistry, Rutvi" userId="5fc3d3ce-a3a2-4982-9a25-842d5fac8f6f" providerId="ADAL" clId="{3F172CE4-4CA5-4497-BBEA-DDCE98D5F967}" dt="2023-03-07T18:10:49.463" v="379" actId="1036"/>
          <ac:spMkLst>
            <pc:docMk/>
            <pc:sldMk cId="2612260147" sldId="4447"/>
            <ac:spMk id="86" creationId="{BD8537EC-EA1D-B048-6E21-156025E9B5A9}"/>
          </ac:spMkLst>
        </pc:spChg>
        <pc:spChg chg="mod">
          <ac:chgData name="Mistry, Rutvi" userId="5fc3d3ce-a3a2-4982-9a25-842d5fac8f6f" providerId="ADAL" clId="{3F172CE4-4CA5-4497-BBEA-DDCE98D5F967}" dt="2023-03-07T17:53:17.485" v="273" actId="1076"/>
          <ac:spMkLst>
            <pc:docMk/>
            <pc:sldMk cId="2612260147" sldId="4447"/>
            <ac:spMk id="101" creationId="{FD5172CE-AE51-F578-9C60-86F6924D3465}"/>
          </ac:spMkLst>
        </pc:spChg>
        <pc:spChg chg="mod">
          <ac:chgData name="Mistry, Rutvi" userId="5fc3d3ce-a3a2-4982-9a25-842d5fac8f6f" providerId="ADAL" clId="{3F172CE4-4CA5-4497-BBEA-DDCE98D5F967}" dt="2023-03-07T18:17:55.941" v="426" actId="1038"/>
          <ac:spMkLst>
            <pc:docMk/>
            <pc:sldMk cId="2612260147" sldId="4447"/>
            <ac:spMk id="109" creationId="{D8C67EE8-986E-982A-4EEB-B6AA8F8E57BC}"/>
          </ac:spMkLst>
        </pc:spChg>
        <pc:spChg chg="mod">
          <ac:chgData name="Mistry, Rutvi" userId="5fc3d3ce-a3a2-4982-9a25-842d5fac8f6f" providerId="ADAL" clId="{3F172CE4-4CA5-4497-BBEA-DDCE98D5F967}" dt="2023-03-07T18:17:45.413" v="420" actId="1076"/>
          <ac:spMkLst>
            <pc:docMk/>
            <pc:sldMk cId="2612260147" sldId="4447"/>
            <ac:spMk id="111" creationId="{DDBF841A-B3B2-E292-FAE3-B6BA73A80C32}"/>
          </ac:spMkLst>
        </pc:spChg>
        <pc:spChg chg="mod">
          <ac:chgData name="Mistry, Rutvi" userId="5fc3d3ce-a3a2-4982-9a25-842d5fac8f6f" providerId="ADAL" clId="{3F172CE4-4CA5-4497-BBEA-DDCE98D5F967}" dt="2023-03-07T18:18:58.972" v="427" actId="1076"/>
          <ac:spMkLst>
            <pc:docMk/>
            <pc:sldMk cId="2612260147" sldId="4447"/>
            <ac:spMk id="112" creationId="{421CC814-EFEF-467B-D5E8-78B49563E0CA}"/>
          </ac:spMkLst>
        </pc:spChg>
        <pc:spChg chg="mod">
          <ac:chgData name="Mistry, Rutvi" userId="5fc3d3ce-a3a2-4982-9a25-842d5fac8f6f" providerId="ADAL" clId="{3F172CE4-4CA5-4497-BBEA-DDCE98D5F967}" dt="2023-03-07T18:17:00.945" v="410" actId="1036"/>
          <ac:spMkLst>
            <pc:docMk/>
            <pc:sldMk cId="2612260147" sldId="4447"/>
            <ac:spMk id="117" creationId="{EF629265-A57A-8570-5EA4-212BB4AC2AF8}"/>
          </ac:spMkLst>
        </pc:spChg>
        <pc:spChg chg="add mod">
          <ac:chgData name="Mistry, Rutvi" userId="5fc3d3ce-a3a2-4982-9a25-842d5fac8f6f" providerId="ADAL" clId="{3F172CE4-4CA5-4497-BBEA-DDCE98D5F967}" dt="2023-03-07T18:09:58.170" v="329" actId="1076"/>
          <ac:spMkLst>
            <pc:docMk/>
            <pc:sldMk cId="2612260147" sldId="4447"/>
            <ac:spMk id="157" creationId="{5D321778-9130-483A-83C0-5E6E80A53027}"/>
          </ac:spMkLst>
        </pc:spChg>
        <pc:spChg chg="add mod">
          <ac:chgData name="Mistry, Rutvi" userId="5fc3d3ce-a3a2-4982-9a25-842d5fac8f6f" providerId="ADAL" clId="{3F172CE4-4CA5-4497-BBEA-DDCE98D5F967}" dt="2023-03-07T18:10:49.463" v="379" actId="1036"/>
          <ac:spMkLst>
            <pc:docMk/>
            <pc:sldMk cId="2612260147" sldId="4447"/>
            <ac:spMk id="160" creationId="{90069A0F-2B56-3353-36F1-1BE2D3058D18}"/>
          </ac:spMkLst>
        </pc:spChg>
        <pc:picChg chg="mod">
          <ac:chgData name="Mistry, Rutvi" userId="5fc3d3ce-a3a2-4982-9a25-842d5fac8f6f" providerId="ADAL" clId="{3F172CE4-4CA5-4497-BBEA-DDCE98D5F967}" dt="2023-03-07T18:10:09.559" v="343" actId="1036"/>
          <ac:picMkLst>
            <pc:docMk/>
            <pc:sldMk cId="2612260147" sldId="4447"/>
            <ac:picMk id="58" creationId="{9D738CEF-50D0-6E7E-3083-2C07AEA5B2E3}"/>
          </ac:picMkLst>
        </pc:picChg>
        <pc:picChg chg="mod">
          <ac:chgData name="Mistry, Rutvi" userId="5fc3d3ce-a3a2-4982-9a25-842d5fac8f6f" providerId="ADAL" clId="{3F172CE4-4CA5-4497-BBEA-DDCE98D5F967}" dt="2023-03-07T18:48:34.094" v="448" actId="14100"/>
          <ac:picMkLst>
            <pc:docMk/>
            <pc:sldMk cId="2612260147" sldId="4447"/>
            <ac:picMk id="61" creationId="{8B648DDB-CA53-E6C1-737C-E275757B50AB}"/>
          </ac:picMkLst>
        </pc:picChg>
        <pc:picChg chg="mod">
          <ac:chgData name="Mistry, Rutvi" userId="5fc3d3ce-a3a2-4982-9a25-842d5fac8f6f" providerId="ADAL" clId="{3F172CE4-4CA5-4497-BBEA-DDCE98D5F967}" dt="2023-03-07T18:31:59.514" v="429" actId="1076"/>
          <ac:picMkLst>
            <pc:docMk/>
            <pc:sldMk cId="2612260147" sldId="4447"/>
            <ac:picMk id="69" creationId="{83B711F9-519F-3975-F064-6BA3C0831B40}"/>
          </ac:picMkLst>
        </pc:picChg>
        <pc:picChg chg="mod">
          <ac:chgData name="Mistry, Rutvi" userId="5fc3d3ce-a3a2-4982-9a25-842d5fac8f6f" providerId="ADAL" clId="{3F172CE4-4CA5-4497-BBEA-DDCE98D5F967}" dt="2023-03-07T18:48:51.773" v="456" actId="14100"/>
          <ac:picMkLst>
            <pc:docMk/>
            <pc:sldMk cId="2612260147" sldId="4447"/>
            <ac:picMk id="72" creationId="{766C39E9-E40C-9D9E-22F7-1125807D3DA6}"/>
          </ac:picMkLst>
        </pc:picChg>
        <pc:picChg chg="mod">
          <ac:chgData name="Mistry, Rutvi" userId="5fc3d3ce-a3a2-4982-9a25-842d5fac8f6f" providerId="ADAL" clId="{3F172CE4-4CA5-4497-BBEA-DDCE98D5F967}" dt="2023-03-07T18:10:49.463" v="379" actId="1036"/>
          <ac:picMkLst>
            <pc:docMk/>
            <pc:sldMk cId="2612260147" sldId="4447"/>
            <ac:picMk id="82" creationId="{8B70D4A3-ACAF-3432-D086-741DB678A49D}"/>
          </ac:picMkLst>
        </pc:picChg>
        <pc:picChg chg="mod">
          <ac:chgData name="Mistry, Rutvi" userId="5fc3d3ce-a3a2-4982-9a25-842d5fac8f6f" providerId="ADAL" clId="{3F172CE4-4CA5-4497-BBEA-DDCE98D5F967}" dt="2023-03-07T18:17:00.945" v="410" actId="1036"/>
          <ac:picMkLst>
            <pc:docMk/>
            <pc:sldMk cId="2612260147" sldId="4447"/>
            <ac:picMk id="115" creationId="{F6EEC8ED-86FE-2F64-6BC9-C1A6176DBCF0}"/>
          </ac:picMkLst>
        </pc:picChg>
        <pc:picChg chg="add mod">
          <ac:chgData name="Mistry, Rutvi" userId="5fc3d3ce-a3a2-4982-9a25-842d5fac8f6f" providerId="ADAL" clId="{3F172CE4-4CA5-4497-BBEA-DDCE98D5F967}" dt="2023-03-07T17:52:45.586" v="266" actId="1076"/>
          <ac:picMkLst>
            <pc:docMk/>
            <pc:sldMk cId="2612260147" sldId="4447"/>
            <ac:picMk id="142" creationId="{4C7A70E7-098E-350C-A57D-04601258158F}"/>
          </ac:picMkLst>
        </pc:picChg>
        <pc:picChg chg="add mod">
          <ac:chgData name="Mistry, Rutvi" userId="5fc3d3ce-a3a2-4982-9a25-842d5fac8f6f" providerId="ADAL" clId="{3F172CE4-4CA5-4497-BBEA-DDCE98D5F967}" dt="2023-03-07T17:53:28.627" v="279" actId="1076"/>
          <ac:picMkLst>
            <pc:docMk/>
            <pc:sldMk cId="2612260147" sldId="4447"/>
            <ac:picMk id="143" creationId="{B2C7530D-ECC5-EFEB-9534-997B39D432A6}"/>
          </ac:picMkLst>
        </pc:picChg>
        <pc:picChg chg="add mod">
          <ac:chgData name="Mistry, Rutvi" userId="5fc3d3ce-a3a2-4982-9a25-842d5fac8f6f" providerId="ADAL" clId="{3F172CE4-4CA5-4497-BBEA-DDCE98D5F967}" dt="2023-03-07T18:52:13.306" v="462" actId="1076"/>
          <ac:picMkLst>
            <pc:docMk/>
            <pc:sldMk cId="2612260147" sldId="4447"/>
            <ac:picMk id="172" creationId="{B06E4853-4E31-961C-D362-9ADC4EEE43DB}"/>
          </ac:picMkLst>
        </pc:picChg>
        <pc:picChg chg="add mod">
          <ac:chgData name="Mistry, Rutvi" userId="5fc3d3ce-a3a2-4982-9a25-842d5fac8f6f" providerId="ADAL" clId="{3F172CE4-4CA5-4497-BBEA-DDCE98D5F967}" dt="2023-03-07T18:52:23.016" v="464" actId="1076"/>
          <ac:picMkLst>
            <pc:docMk/>
            <pc:sldMk cId="2612260147" sldId="4447"/>
            <ac:picMk id="173" creationId="{44CD3E7E-8A39-9330-7214-E8E691DDB48C}"/>
          </ac:picMkLst>
        </pc:picChg>
        <pc:cxnChg chg="mod">
          <ac:chgData name="Mistry, Rutvi" userId="5fc3d3ce-a3a2-4982-9a25-842d5fac8f6f" providerId="ADAL" clId="{3F172CE4-4CA5-4497-BBEA-DDCE98D5F967}" dt="2023-03-07T18:32:31.478" v="430" actId="692"/>
          <ac:cxnSpMkLst>
            <pc:docMk/>
            <pc:sldMk cId="2612260147" sldId="4447"/>
            <ac:cxnSpMk id="12" creationId="{726B533E-E672-1C2E-16A7-E6D524033277}"/>
          </ac:cxnSpMkLst>
        </pc:cxnChg>
        <pc:cxnChg chg="del mod">
          <ac:chgData name="Mistry, Rutvi" userId="5fc3d3ce-a3a2-4982-9a25-842d5fac8f6f" providerId="ADAL" clId="{3F172CE4-4CA5-4497-BBEA-DDCE98D5F967}" dt="2023-03-07T18:07:19.970" v="286" actId="478"/>
          <ac:cxnSpMkLst>
            <pc:docMk/>
            <pc:sldMk cId="2612260147" sldId="4447"/>
            <ac:cxnSpMk id="13" creationId="{B74B526C-CFCE-A213-BADB-73B81FC0D45E}"/>
          </ac:cxnSpMkLst>
        </pc:cxnChg>
        <pc:cxnChg chg="mod">
          <ac:chgData name="Mistry, Rutvi" userId="5fc3d3ce-a3a2-4982-9a25-842d5fac8f6f" providerId="ADAL" clId="{3F172CE4-4CA5-4497-BBEA-DDCE98D5F967}" dt="2023-03-07T18:33:39.451" v="437" actId="692"/>
          <ac:cxnSpMkLst>
            <pc:docMk/>
            <pc:sldMk cId="2612260147" sldId="4447"/>
            <ac:cxnSpMk id="15" creationId="{3E647972-D0FF-9CF6-9266-EBBE35E0373D}"/>
          </ac:cxnSpMkLst>
        </pc:cxnChg>
        <pc:cxnChg chg="mod">
          <ac:chgData name="Mistry, Rutvi" userId="5fc3d3ce-a3a2-4982-9a25-842d5fac8f6f" providerId="ADAL" clId="{3F172CE4-4CA5-4497-BBEA-DDCE98D5F967}" dt="2023-03-07T21:06:23.717" v="493" actId="692"/>
          <ac:cxnSpMkLst>
            <pc:docMk/>
            <pc:sldMk cId="2612260147" sldId="4447"/>
            <ac:cxnSpMk id="38" creationId="{209CFBFA-08DC-34F1-BFE6-AF03E878A31A}"/>
          </ac:cxnSpMkLst>
        </pc:cxnChg>
        <pc:cxnChg chg="mod">
          <ac:chgData name="Mistry, Rutvi" userId="5fc3d3ce-a3a2-4982-9a25-842d5fac8f6f" providerId="ADAL" clId="{3F172CE4-4CA5-4497-BBEA-DDCE98D5F967}" dt="2023-03-07T18:08:29.010" v="299" actId="14100"/>
          <ac:cxnSpMkLst>
            <pc:docMk/>
            <pc:sldMk cId="2612260147" sldId="4447"/>
            <ac:cxnSpMk id="49" creationId="{69EA8D8C-2C79-C108-4D85-8E32BDA384FF}"/>
          </ac:cxnSpMkLst>
        </pc:cxnChg>
        <pc:cxnChg chg="del mod">
          <ac:chgData name="Mistry, Rutvi" userId="5fc3d3ce-a3a2-4982-9a25-842d5fac8f6f" providerId="ADAL" clId="{3F172CE4-4CA5-4497-BBEA-DDCE98D5F967}" dt="2023-03-07T18:11:20.851" v="383" actId="478"/>
          <ac:cxnSpMkLst>
            <pc:docMk/>
            <pc:sldMk cId="2612260147" sldId="4447"/>
            <ac:cxnSpMk id="62" creationId="{F33DB12D-3413-36CF-3C57-0218AD546CD9}"/>
          </ac:cxnSpMkLst>
        </pc:cxnChg>
        <pc:cxnChg chg="mod">
          <ac:chgData name="Mistry, Rutvi" userId="5fc3d3ce-a3a2-4982-9a25-842d5fac8f6f" providerId="ADAL" clId="{3F172CE4-4CA5-4497-BBEA-DDCE98D5F967}" dt="2023-03-07T18:47:51.609" v="439" actId="14100"/>
          <ac:cxnSpMkLst>
            <pc:docMk/>
            <pc:sldMk cId="2612260147" sldId="4447"/>
            <ac:cxnSpMk id="77" creationId="{4DFA8A24-5D22-1C82-CCE9-7647E19509AE}"/>
          </ac:cxnSpMkLst>
        </pc:cxnChg>
        <pc:cxnChg chg="mod">
          <ac:chgData name="Mistry, Rutvi" userId="5fc3d3ce-a3a2-4982-9a25-842d5fac8f6f" providerId="ADAL" clId="{3F172CE4-4CA5-4497-BBEA-DDCE98D5F967}" dt="2023-03-07T18:32:43.401" v="433" actId="692"/>
          <ac:cxnSpMkLst>
            <pc:docMk/>
            <pc:sldMk cId="2612260147" sldId="4447"/>
            <ac:cxnSpMk id="83" creationId="{55C733A3-D96B-7DDC-B963-59210C5F1DB6}"/>
          </ac:cxnSpMkLst>
        </pc:cxnChg>
        <pc:cxnChg chg="mod">
          <ac:chgData name="Mistry, Rutvi" userId="5fc3d3ce-a3a2-4982-9a25-842d5fac8f6f" providerId="ADAL" clId="{3F172CE4-4CA5-4497-BBEA-DDCE98D5F967}" dt="2023-03-07T18:32:40.381" v="432" actId="692"/>
          <ac:cxnSpMkLst>
            <pc:docMk/>
            <pc:sldMk cId="2612260147" sldId="4447"/>
            <ac:cxnSpMk id="92" creationId="{33DF4768-6AC6-63AD-1476-B339576423B6}"/>
          </ac:cxnSpMkLst>
        </pc:cxnChg>
        <pc:cxnChg chg="mod">
          <ac:chgData name="Mistry, Rutvi" userId="5fc3d3ce-a3a2-4982-9a25-842d5fac8f6f" providerId="ADAL" clId="{3F172CE4-4CA5-4497-BBEA-DDCE98D5F967}" dt="2023-03-07T18:32:48.705" v="434" actId="692"/>
          <ac:cxnSpMkLst>
            <pc:docMk/>
            <pc:sldMk cId="2612260147" sldId="4447"/>
            <ac:cxnSpMk id="105" creationId="{7A167039-9400-4E97-F679-50780B1CF664}"/>
          </ac:cxnSpMkLst>
        </pc:cxnChg>
        <pc:cxnChg chg="mod">
          <ac:chgData name="Mistry, Rutvi" userId="5fc3d3ce-a3a2-4982-9a25-842d5fac8f6f" providerId="ADAL" clId="{3F172CE4-4CA5-4497-BBEA-DDCE98D5F967}" dt="2023-03-07T18:32:52.260" v="435" actId="692"/>
          <ac:cxnSpMkLst>
            <pc:docMk/>
            <pc:sldMk cId="2612260147" sldId="4447"/>
            <ac:cxnSpMk id="107" creationId="{59C045CB-A1A0-739A-84B4-04E0512D5B2E}"/>
          </ac:cxnSpMkLst>
        </pc:cxnChg>
        <pc:cxnChg chg="add mod">
          <ac:chgData name="Mistry, Rutvi" userId="5fc3d3ce-a3a2-4982-9a25-842d5fac8f6f" providerId="ADAL" clId="{3F172CE4-4CA5-4497-BBEA-DDCE98D5F967}" dt="2023-03-07T18:10:03.421" v="330" actId="14100"/>
          <ac:cxnSpMkLst>
            <pc:docMk/>
            <pc:sldMk cId="2612260147" sldId="4447"/>
            <ac:cxnSpMk id="149" creationId="{18F1EF61-822A-740A-F22A-4BAB64C92DAA}"/>
          </ac:cxnSpMkLst>
        </pc:cxnChg>
        <pc:cxnChg chg="add mod">
          <ac:chgData name="Mistry, Rutvi" userId="5fc3d3ce-a3a2-4982-9a25-842d5fac8f6f" providerId="ADAL" clId="{3F172CE4-4CA5-4497-BBEA-DDCE98D5F967}" dt="2023-03-07T18:10:23.315" v="345" actId="14100"/>
          <ac:cxnSpMkLst>
            <pc:docMk/>
            <pc:sldMk cId="2612260147" sldId="4447"/>
            <ac:cxnSpMk id="155" creationId="{E982B2EF-0379-BA3F-F61C-8CBC4F0D5268}"/>
          </ac:cxnSpMkLst>
        </pc:cxnChg>
      </pc:sldChg>
    </pc:docChg>
  </pc:docChgLst>
  <pc:docChgLst>
    <pc:chgData name="Lachman, Lawrence" userId="68d65eab-46cc-4c14-b78c-d5da020c1e89" providerId="ADAL" clId="{B05243DE-30AB-438C-BE47-84EA0200D95A}"/>
    <pc:docChg chg="undo custSel addSld modSld">
      <pc:chgData name="Lachman, Lawrence" userId="68d65eab-46cc-4c14-b78c-d5da020c1e89" providerId="ADAL" clId="{B05243DE-30AB-438C-BE47-84EA0200D95A}" dt="2023-03-07T21:14:34.422" v="177" actId="14100"/>
      <pc:docMkLst>
        <pc:docMk/>
      </pc:docMkLst>
      <pc:sldChg chg="add">
        <pc:chgData name="Lachman, Lawrence" userId="68d65eab-46cc-4c14-b78c-d5da020c1e89" providerId="ADAL" clId="{B05243DE-30AB-438C-BE47-84EA0200D95A}" dt="2023-03-07T20:52:55.738" v="0"/>
        <pc:sldMkLst>
          <pc:docMk/>
          <pc:sldMk cId="4193511914" sldId="4448"/>
        </pc:sldMkLst>
      </pc:sldChg>
      <pc:sldChg chg="modSp add mod">
        <pc:chgData name="Lachman, Lawrence" userId="68d65eab-46cc-4c14-b78c-d5da020c1e89" providerId="ADAL" clId="{B05243DE-30AB-438C-BE47-84EA0200D95A}" dt="2023-03-07T21:14:34.422" v="177" actId="14100"/>
        <pc:sldMkLst>
          <pc:docMk/>
          <pc:sldMk cId="897716042" sldId="4449"/>
        </pc:sldMkLst>
        <pc:spChg chg="mod">
          <ac:chgData name="Lachman, Lawrence" userId="68d65eab-46cc-4c14-b78c-d5da020c1e89" providerId="ADAL" clId="{B05243DE-30AB-438C-BE47-84EA0200D95A}" dt="2023-03-07T20:54:56.690" v="1" actId="1076"/>
          <ac:spMkLst>
            <pc:docMk/>
            <pc:sldMk cId="897716042" sldId="4449"/>
            <ac:spMk id="5" creationId="{77190E17-220E-0978-F206-4454DCB4B279}"/>
          </ac:spMkLst>
        </pc:spChg>
        <pc:spChg chg="mod">
          <ac:chgData name="Lachman, Lawrence" userId="68d65eab-46cc-4c14-b78c-d5da020c1e89" providerId="ADAL" clId="{B05243DE-30AB-438C-BE47-84EA0200D95A}" dt="2023-03-07T20:54:56.690" v="1" actId="1076"/>
          <ac:spMkLst>
            <pc:docMk/>
            <pc:sldMk cId="897716042" sldId="4449"/>
            <ac:spMk id="8" creationId="{B3972B9B-5CCF-9FDA-15D5-964B590DDB2A}"/>
          </ac:spMkLst>
        </pc:spChg>
        <pc:spChg chg="mod">
          <ac:chgData name="Lachman, Lawrence" userId="68d65eab-46cc-4c14-b78c-d5da020c1e89" providerId="ADAL" clId="{B05243DE-30AB-438C-BE47-84EA0200D95A}" dt="2023-03-07T20:54:56.690" v="1" actId="1076"/>
          <ac:spMkLst>
            <pc:docMk/>
            <pc:sldMk cId="897716042" sldId="4449"/>
            <ac:spMk id="9" creationId="{606332AB-7B47-CCDD-7195-7BFAE6A1E8FE}"/>
          </ac:spMkLst>
        </pc:spChg>
        <pc:spChg chg="mod">
          <ac:chgData name="Lachman, Lawrence" userId="68d65eab-46cc-4c14-b78c-d5da020c1e89" providerId="ADAL" clId="{B05243DE-30AB-438C-BE47-84EA0200D95A}" dt="2023-03-07T20:54:56.690" v="1" actId="1076"/>
          <ac:spMkLst>
            <pc:docMk/>
            <pc:sldMk cId="897716042" sldId="4449"/>
            <ac:spMk id="14" creationId="{DEF1DEC6-8EC1-608F-6403-32B5D406450C}"/>
          </ac:spMkLst>
        </pc:spChg>
        <pc:spChg chg="mod">
          <ac:chgData name="Lachman, Lawrence" userId="68d65eab-46cc-4c14-b78c-d5da020c1e89" providerId="ADAL" clId="{B05243DE-30AB-438C-BE47-84EA0200D95A}" dt="2023-03-07T20:54:56.690" v="1" actId="1076"/>
          <ac:spMkLst>
            <pc:docMk/>
            <pc:sldMk cId="897716042" sldId="4449"/>
            <ac:spMk id="16" creationId="{8B17E57D-8436-700A-EB71-48A27BAEED34}"/>
          </ac:spMkLst>
        </pc:spChg>
        <pc:spChg chg="mod">
          <ac:chgData name="Lachman, Lawrence" userId="68d65eab-46cc-4c14-b78c-d5da020c1e89" providerId="ADAL" clId="{B05243DE-30AB-438C-BE47-84EA0200D95A}" dt="2023-03-07T21:14:34.422" v="177" actId="14100"/>
          <ac:spMkLst>
            <pc:docMk/>
            <pc:sldMk cId="897716042" sldId="4449"/>
            <ac:spMk id="17" creationId="{A6357482-AEEB-86B7-501A-6FF895EFFED4}"/>
          </ac:spMkLst>
        </pc:spChg>
        <pc:picChg chg="mod">
          <ac:chgData name="Lachman, Lawrence" userId="68d65eab-46cc-4c14-b78c-d5da020c1e89" providerId="ADAL" clId="{B05243DE-30AB-438C-BE47-84EA0200D95A}" dt="2023-03-07T20:54:56.690" v="1" actId="1076"/>
          <ac:picMkLst>
            <pc:docMk/>
            <pc:sldMk cId="897716042" sldId="4449"/>
            <ac:picMk id="4" creationId="{C4B6CBE1-722C-5CBD-316E-CCB7E721380A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BB894-E1A7-FD43-A252-8B5A60C1F34A}" type="datetimeFigureOut">
              <a:rPr lang="en-US" smtClean="0"/>
              <a:t>3/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DFAEE0-8029-A94B-802A-8A286C4D3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32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708FC6-91E6-4FF4-91B0-110CA1AA77DC}" type="datetimeFigureOut">
              <a:rPr lang="en-US" smtClean="0"/>
              <a:t>3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6A8658-EB80-4DD7-A912-B2638ECE9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903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968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9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D3526D-2D43-41BD-AE11-AFF0A422C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853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D3526D-2D43-41BD-AE11-AFF0A422C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D15303-77E3-4216-BE36-733574EB51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Cover Slide Title Block"/>
          <p:cNvSpPr>
            <a:spLocks noGrp="1"/>
          </p:cNvSpPr>
          <p:nvPr>
            <p:ph type="ctrTitle" hasCustomPrompt="1"/>
          </p:nvPr>
        </p:nvSpPr>
        <p:spPr>
          <a:xfrm>
            <a:off x="458725" y="2295728"/>
            <a:ext cx="7072233" cy="1253627"/>
          </a:xfrm>
          <a:noFill/>
        </p:spPr>
        <p:txBody>
          <a:bodyPr anchor="b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3" name="Subtitle 2" descr="Cover Slide Subtitle Block"/>
          <p:cNvSpPr>
            <a:spLocks noGrp="1"/>
          </p:cNvSpPr>
          <p:nvPr>
            <p:ph type="subTitle" idx="1"/>
          </p:nvPr>
        </p:nvSpPr>
        <p:spPr>
          <a:xfrm>
            <a:off x="458725" y="3774310"/>
            <a:ext cx="7072233" cy="508228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90BD151-CA4C-C144-964C-BA07C87C7A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0" y="331546"/>
            <a:ext cx="4161982" cy="160076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1B3F8D5-CAAE-6A47-8861-17C3550465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9435"/>
          <a:stretch/>
        </p:blipFill>
        <p:spPr>
          <a:xfrm>
            <a:off x="10568462" y="69413"/>
            <a:ext cx="1535484" cy="678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594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13185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3" name="Picture 12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AB1B16EF-1DEA-DA46-A010-A2F833CAD5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397" y="279398"/>
            <a:ext cx="6299200" cy="62992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 descr="Title Block for Transition Slide with Photo #2">
            <a:extLst>
              <a:ext uri="{FF2B5EF4-FFF2-40B4-BE49-F238E27FC236}">
                <a16:creationId xmlns:a16="http://schemas.microsoft.com/office/drawing/2014/main" id="{73155F66-6627-2142-9FE9-0A2FB8FA2A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 descr="Subtitle Block for Transition Slide with Photo #2">
            <a:extLst>
              <a:ext uri="{FF2B5EF4-FFF2-40B4-BE49-F238E27FC236}">
                <a16:creationId xmlns:a16="http://schemas.microsoft.com/office/drawing/2014/main" id="{891BFA8A-1374-7E42-BF58-FA4EBB2A3F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34969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13185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3" name="Picture 12" descr="Two people looking at a paper&#10;&#10;Description automatically generated with medium confidence">
            <a:extLst>
              <a:ext uri="{FF2B5EF4-FFF2-40B4-BE49-F238E27FC236}">
                <a16:creationId xmlns:a16="http://schemas.microsoft.com/office/drawing/2014/main" id="{F1162574-FF3D-5846-8BE2-00B45F71AC5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397" y="279398"/>
            <a:ext cx="6299200" cy="62992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 descr="Title Block for Transition Slide with Photo #3">
            <a:extLst>
              <a:ext uri="{FF2B5EF4-FFF2-40B4-BE49-F238E27FC236}">
                <a16:creationId xmlns:a16="http://schemas.microsoft.com/office/drawing/2014/main" id="{7FC13F38-1960-B442-B8B7-79F5E42512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4D3CD320-F075-3748-8F3D-2DB96F27F7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99326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14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282699"/>
            <a:ext cx="11277600" cy="489426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765177"/>
          </a:xfrm>
        </p:spPr>
        <p:txBody>
          <a:bodyPr anchor="t"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1497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b_Title w/Sub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0983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282149"/>
            <a:ext cx="11277600" cy="4894816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479829"/>
          </a:xfrm>
        </p:spPr>
        <p:txBody>
          <a:bodyPr anchor="t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ubtitle 2" descr="Slide Subtitle">
            <a:extLst>
              <a:ext uri="{FF2B5EF4-FFF2-40B4-BE49-F238E27FC236}">
                <a16:creationId xmlns:a16="http://schemas.microsoft.com/office/drawing/2014/main" id="{586A90E9-43A9-0241-B222-93E3158351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872585"/>
            <a:ext cx="11273027" cy="340114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5F6FAD-521F-8649-9770-0CC18551A48B}"/>
              </a:ext>
            </a:extLst>
          </p:cNvPr>
          <p:cNvSpPr txBox="1"/>
          <p:nvPr userDrawn="1"/>
        </p:nvSpPr>
        <p:spPr>
          <a:xfrm>
            <a:off x="-648182" y="3750197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2690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161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FC6BDF-F541-4BDE-A284-229958FCD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1" y="1284789"/>
            <a:ext cx="5540828" cy="489217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Content Placeholder 8" descr="Slide Content Box 2">
            <a:extLst>
              <a:ext uri="{FF2B5EF4-FFF2-40B4-BE49-F238E27FC236}">
                <a16:creationId xmlns:a16="http://schemas.microsoft.com/office/drawing/2014/main" id="{C7EF0788-9E9D-4BA3-A132-B323D31F49B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4426" y="1284790"/>
            <a:ext cx="5540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0293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99930E-69B7-4A72-98BD-FBA90240F6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1039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99930E-69B7-4A72-98BD-FBA90240F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FE23A40-4642-46FC-80E3-90E9C2B1C5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1" y="1284251"/>
            <a:ext cx="3635828" cy="489271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2">
            <a:extLst>
              <a:ext uri="{FF2B5EF4-FFF2-40B4-BE49-F238E27FC236}">
                <a16:creationId xmlns:a16="http://schemas.microsoft.com/office/drawing/2014/main" id="{A8C7E46B-CD8E-4D36-BE34-7C73F0219F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78312" y="1284790"/>
            <a:ext cx="3635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1" descr="Slide Content Box 3">
            <a:extLst>
              <a:ext uri="{FF2B5EF4-FFF2-40B4-BE49-F238E27FC236}">
                <a16:creationId xmlns:a16="http://schemas.microsoft.com/office/drawing/2014/main" id="{EF5E564C-1C39-4E0A-8A8C-A855C1988BD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099425" y="1284790"/>
            <a:ext cx="3635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0958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559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235308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2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" name="Content Placeholder 12" descr="Slide Content Box 3">
            <a:extLst>
              <a:ext uri="{FF2B5EF4-FFF2-40B4-BE49-F238E27FC236}">
                <a16:creationId xmlns:a16="http://schemas.microsoft.com/office/drawing/2014/main" id="{509CF4F7-9D97-406F-82B7-FF24AA990C4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7200" y="3823507"/>
            <a:ext cx="5537200" cy="2352769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4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22759"/>
            <a:ext cx="5537200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2235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imary Content with 2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868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RIght 1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Right 2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22759"/>
            <a:ext cx="5537200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90121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imary Content with 3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9981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RIght 1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Content Placeholder 5" descr="Slide Content Box RIght 2">
            <a:extLst>
              <a:ext uri="{FF2B5EF4-FFF2-40B4-BE49-F238E27FC236}">
                <a16:creationId xmlns:a16="http://schemas.microsoft.com/office/drawing/2014/main" id="{97C43893-4A0E-5149-982B-207C9173079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97602" y="2970794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" name="Content Placeholder 5" descr="Slide Content Box RIght 3">
            <a:extLst>
              <a:ext uri="{FF2B5EF4-FFF2-40B4-BE49-F238E27FC236}">
                <a16:creationId xmlns:a16="http://schemas.microsoft.com/office/drawing/2014/main" id="{F6047B48-9C37-7B43-B81B-D0D2810BB87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2" y="4656798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38067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imary Content with 4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0138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4018986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" name="Content Placeholder 5" descr="Slide Content Box RIght 1">
            <a:extLst>
              <a:ext uri="{FF2B5EF4-FFF2-40B4-BE49-F238E27FC236}">
                <a16:creationId xmlns:a16="http://schemas.microsoft.com/office/drawing/2014/main" id="{99F7D177-AEC0-A94D-9080-BFF80DD04C5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57036" y="1284790"/>
            <a:ext cx="3446935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RIght 3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57034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" name="Content Placeholder 5" descr="Slide Content Box RIght 2">
            <a:extLst>
              <a:ext uri="{FF2B5EF4-FFF2-40B4-BE49-F238E27FC236}">
                <a16:creationId xmlns:a16="http://schemas.microsoft.com/office/drawing/2014/main" id="{3EEE4A13-329A-C64B-A43E-3F785D89F37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284819" y="1284790"/>
            <a:ext cx="3446935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RIght 4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628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lain_wClient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D1A30E-CBA3-45DE-BB3E-7AE44D403E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4616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D1A30E-CBA3-45DE-BB3E-7AE44D403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7BB8C25-85DA-45C6-8597-77EC35B2AB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Cover Slide Title Block"/>
          <p:cNvSpPr>
            <a:spLocks noGrp="1"/>
          </p:cNvSpPr>
          <p:nvPr>
            <p:ph type="ctrTitle" hasCustomPrompt="1"/>
          </p:nvPr>
        </p:nvSpPr>
        <p:spPr>
          <a:xfrm>
            <a:off x="458725" y="2295728"/>
            <a:ext cx="7072233" cy="1253627"/>
          </a:xfrm>
          <a:noFill/>
        </p:spPr>
        <p:txBody>
          <a:bodyPr anchor="b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s</a:t>
            </a:r>
            <a:endParaRPr lang="en-US" noProof="0"/>
          </a:p>
        </p:txBody>
      </p:sp>
      <p:sp>
        <p:nvSpPr>
          <p:cNvPr id="3" name="Subtitle 2" descr="Cover Slide Subtitle Block"/>
          <p:cNvSpPr>
            <a:spLocks noGrp="1"/>
          </p:cNvSpPr>
          <p:nvPr>
            <p:ph type="subTitle" idx="1"/>
          </p:nvPr>
        </p:nvSpPr>
        <p:spPr>
          <a:xfrm>
            <a:off x="458725" y="3774310"/>
            <a:ext cx="7072233" cy="508228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86A517D-FDC2-6643-A914-F3E88D677E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8725" y="5071705"/>
            <a:ext cx="3666188" cy="1081169"/>
          </a:xfrm>
          <a:prstGeom prst="roundRect">
            <a:avLst>
              <a:gd name="adj" fmla="val 8025"/>
            </a:avLst>
          </a:prstGeom>
          <a:solidFill>
            <a:schemeClr val="bg1"/>
          </a:solidFill>
          <a:ln>
            <a:solidFill>
              <a:srgbClr val="CACA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CC0BB4-62BF-FA49-BDDE-405F4A321B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0" y="331546"/>
            <a:ext cx="4161982" cy="16007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1419E95-EE2B-7844-BE20-3306CB2DBF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8462" y="69413"/>
            <a:ext cx="1535484" cy="842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3521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rimary with Callouts Low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968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Center Across the Top"/>
          <p:cNvSpPr>
            <a:spLocks noGrp="1"/>
          </p:cNvSpPr>
          <p:nvPr>
            <p:ph type="body" sz="quarter" idx="13"/>
          </p:nvPr>
        </p:nvSpPr>
        <p:spPr>
          <a:xfrm>
            <a:off x="457199" y="1284777"/>
            <a:ext cx="11274551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Lower Middle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73769" y="3816626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Lower RIght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3816626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Lower Left ">
            <a:extLst>
              <a:ext uri="{FF2B5EF4-FFF2-40B4-BE49-F238E27FC236}">
                <a16:creationId xmlns:a16="http://schemas.microsoft.com/office/drawing/2014/main" id="{CC08F38A-6162-5E40-A5BD-6C486A6B60E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2721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88523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rimary with Callouts Upp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610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ower "/>
          <p:cNvSpPr>
            <a:spLocks noGrp="1"/>
          </p:cNvSpPr>
          <p:nvPr>
            <p:ph type="body" sz="quarter" idx="13"/>
          </p:nvPr>
        </p:nvSpPr>
        <p:spPr>
          <a:xfrm>
            <a:off x="457199" y="3834420"/>
            <a:ext cx="11274551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Upper Middle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73769" y="1278644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Upper RIght 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1278644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Upper Left">
            <a:extLst>
              <a:ext uri="{FF2B5EF4-FFF2-40B4-BE49-F238E27FC236}">
                <a16:creationId xmlns:a16="http://schemas.microsoft.com/office/drawing/2014/main" id="{CC08F38A-6162-5E40-A5BD-6C486A6B60E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2721" y="1284777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9907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C99ECC-8008-4DDC-B9AD-9F32F5DD1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678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C99ECC-8008-4DDC-B9AD-9F32F5DD1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0A71401-5A22-4971-8A91-0DF6AFAF685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. The rest of the slide is blank.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4596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8671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"/>
          <p:cNvSpPr>
            <a:spLocks noGrp="1"/>
          </p:cNvSpPr>
          <p:nvPr>
            <p:ph type="body" sz="quarter" idx="13"/>
          </p:nvPr>
        </p:nvSpPr>
        <p:spPr>
          <a:xfrm>
            <a:off x="457200" y="1282149"/>
            <a:ext cx="11277600" cy="4894816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ifth level</a:t>
            </a: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77724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74763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587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FC6BDF-F541-4BDE-A284-229958FCD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3149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(s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771FDC6-8BC6-0B4E-B9C9-35D772F631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BDFCD3-5876-8146-B9D6-2E4E1763D9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28" y="6156648"/>
            <a:ext cx="12192000" cy="701354"/>
          </a:xfrm>
          <a:prstGeom prst="rect">
            <a:avLst/>
          </a:prstGeom>
        </p:spPr>
      </p:pic>
      <p:sp>
        <p:nvSpPr>
          <p:cNvPr id="8" name="Title 1" descr="Quote Area Here">
            <a:extLst>
              <a:ext uri="{FF2B5EF4-FFF2-40B4-BE49-F238E27FC236}">
                <a16:creationId xmlns:a16="http://schemas.microsoft.com/office/drawing/2014/main" id="{C5AD0C9C-3B56-F747-99CD-3AE065574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6276" y="1643932"/>
            <a:ext cx="9299448" cy="2401294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“Quote Slide”</a:t>
            </a:r>
            <a:endParaRPr lang="en-US"/>
          </a:p>
        </p:txBody>
      </p:sp>
      <p:sp>
        <p:nvSpPr>
          <p:cNvPr id="9" name="Text Placeholder 2" descr="Quote Attribution Area">
            <a:extLst>
              <a:ext uri="{FF2B5EF4-FFF2-40B4-BE49-F238E27FC236}">
                <a16:creationId xmlns:a16="http://schemas.microsoft.com/office/drawing/2014/main" id="{87775FA6-7D88-D54D-B3A1-64562B561A4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46276" y="4116789"/>
            <a:ext cx="9299448" cy="401247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ttribution</a:t>
            </a:r>
          </a:p>
        </p:txBody>
      </p:sp>
    </p:spTree>
    <p:extLst>
      <p:ext uri="{BB962C8B-B14F-4D97-AF65-F5344CB8AC3E}">
        <p14:creationId xmlns:p14="http://schemas.microsoft.com/office/powerpoint/2010/main" val="15075201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(s)-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DBDFCD3-5876-8146-B9D6-2E4E1763D9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28" y="6156648"/>
            <a:ext cx="12192000" cy="701354"/>
          </a:xfrm>
          <a:prstGeom prst="rect">
            <a:avLst/>
          </a:prstGeom>
        </p:spPr>
      </p:pic>
      <p:sp>
        <p:nvSpPr>
          <p:cNvPr id="8" name="Title 1" descr="Quote Area Here">
            <a:extLst>
              <a:ext uri="{FF2B5EF4-FFF2-40B4-BE49-F238E27FC236}">
                <a16:creationId xmlns:a16="http://schemas.microsoft.com/office/drawing/2014/main" id="{C5AD0C9C-3B56-F747-99CD-3AE065574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6276" y="1643932"/>
            <a:ext cx="9299448" cy="2401294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“Quote Slide”</a:t>
            </a:r>
            <a:endParaRPr lang="en-US"/>
          </a:p>
        </p:txBody>
      </p:sp>
      <p:sp>
        <p:nvSpPr>
          <p:cNvPr id="9" name="Text Placeholder 2" descr="Quote Attribution Area">
            <a:extLst>
              <a:ext uri="{FF2B5EF4-FFF2-40B4-BE49-F238E27FC236}">
                <a16:creationId xmlns:a16="http://schemas.microsoft.com/office/drawing/2014/main" id="{87775FA6-7D88-D54D-B3A1-64562B561A4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46276" y="4116789"/>
            <a:ext cx="9299448" cy="401247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ttribution</a:t>
            </a:r>
          </a:p>
        </p:txBody>
      </p:sp>
    </p:spTree>
    <p:extLst>
      <p:ext uri="{BB962C8B-B14F-4D97-AF65-F5344CB8AC3E}">
        <p14:creationId xmlns:p14="http://schemas.microsoft.com/office/powerpoint/2010/main" val="26767696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Closing P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771FDC6-8BC6-0B4E-B9C9-35D772F631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extBox 1" descr="Thank You"/>
          <p:cNvSpPr txBox="1"/>
          <p:nvPr userDrawn="1"/>
        </p:nvSpPr>
        <p:spPr>
          <a:xfrm>
            <a:off x="2853723" y="2260705"/>
            <a:ext cx="64807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spc="600">
                <a:solidFill>
                  <a:schemeClr val="accent1"/>
                </a:solidFill>
              </a:rPr>
              <a:t>THANK Y</a:t>
            </a:r>
            <a:r>
              <a:rPr lang="en-US" sz="3600" b="1" spc="600">
                <a:solidFill>
                  <a:schemeClr val="accent2"/>
                </a:solidFill>
              </a:rPr>
              <a:t>O</a:t>
            </a:r>
            <a:r>
              <a:rPr lang="en-US" sz="3600" b="1" spc="600">
                <a:solidFill>
                  <a:schemeClr val="accent1"/>
                </a:solidFill>
              </a:rPr>
              <a:t>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19C623-787A-B949-A7A0-557749088B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4640574" y="3813745"/>
            <a:ext cx="2882900" cy="11049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DBDFCD3-5876-8146-B9D6-2E4E1763D99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28" y="6156648"/>
            <a:ext cx="12192000" cy="70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3052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3EC3B2-3C94-AB43-BABA-3E7F81EC80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3" name="Group 52" descr="Purple">
            <a:extLst>
              <a:ext uri="{FF2B5EF4-FFF2-40B4-BE49-F238E27FC236}">
                <a16:creationId xmlns:a16="http://schemas.microsoft.com/office/drawing/2014/main" id="{186F99B4-28F8-A547-8525-67838B276A62}"/>
              </a:ext>
            </a:extLst>
          </p:cNvPr>
          <p:cNvGrpSpPr/>
          <p:nvPr userDrawn="1"/>
        </p:nvGrpSpPr>
        <p:grpSpPr>
          <a:xfrm>
            <a:off x="1572981" y="1562638"/>
            <a:ext cx="1575487" cy="1506738"/>
            <a:chOff x="244513" y="1467748"/>
            <a:chExt cx="1575487" cy="150673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C4B0966-4486-D342-AC4B-E47B89537E79}"/>
                </a:ext>
              </a:extLst>
            </p:cNvPr>
            <p:cNvSpPr/>
            <p:nvPr userDrawn="1"/>
          </p:nvSpPr>
          <p:spPr>
            <a:xfrm>
              <a:off x="2445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F4C815FD-50B0-E54B-AA1C-3AC36EAB8452}"/>
                </a:ext>
              </a:extLst>
            </p:cNvPr>
            <p:cNvSpPr/>
            <p:nvPr userDrawn="1"/>
          </p:nvSpPr>
          <p:spPr>
            <a:xfrm>
              <a:off x="244513" y="1467748"/>
              <a:ext cx="271337" cy="15067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7B953B76-50F7-2142-99A1-9E7DB98617DF}"/>
                </a:ext>
              </a:extLst>
            </p:cNvPr>
            <p:cNvSpPr/>
            <p:nvPr userDrawn="1"/>
          </p:nvSpPr>
          <p:spPr>
            <a:xfrm>
              <a:off x="5471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1"/>
                  </a:solidFill>
                </a:rPr>
                <a:t>R:  </a:t>
              </a:r>
              <a:r>
                <a:rPr lang="en-US" sz="2000">
                  <a:solidFill>
                    <a:schemeClr val="accent1"/>
                  </a:solidFill>
                </a:rPr>
                <a:t>48</a:t>
              </a:r>
              <a:endParaRPr lang="en-US" sz="2000" b="1">
                <a:solidFill>
                  <a:schemeClr val="accent1"/>
                </a:solidFill>
              </a:endParaRPr>
            </a:p>
            <a:p>
              <a:r>
                <a:rPr lang="en-US" sz="2000" b="1">
                  <a:solidFill>
                    <a:schemeClr val="accent1"/>
                  </a:solidFill>
                </a:rPr>
                <a:t>G: </a:t>
              </a:r>
              <a:r>
                <a:rPr lang="en-US" sz="2000">
                  <a:solidFill>
                    <a:schemeClr val="accent1"/>
                  </a:solidFill>
                </a:rPr>
                <a:t> 0</a:t>
              </a:r>
            </a:p>
            <a:p>
              <a:r>
                <a:rPr lang="en-US" sz="2000" b="1">
                  <a:solidFill>
                    <a:schemeClr val="accent1"/>
                  </a:solidFill>
                </a:rPr>
                <a:t>B:  </a:t>
              </a:r>
              <a:r>
                <a:rPr lang="en-US" sz="2000">
                  <a:solidFill>
                    <a:schemeClr val="accent1"/>
                  </a:solidFill>
                </a:rPr>
                <a:t>111</a:t>
              </a:r>
              <a:endParaRPr lang="en-GB" sz="2000">
                <a:solidFill>
                  <a:schemeClr val="accent1"/>
                </a:solidFill>
              </a:endParaRPr>
            </a:p>
          </p:txBody>
        </p:sp>
      </p:grpSp>
      <p:grpSp>
        <p:nvGrpSpPr>
          <p:cNvPr id="107" name="Group 106" descr="Lavendar">
            <a:extLst>
              <a:ext uri="{FF2B5EF4-FFF2-40B4-BE49-F238E27FC236}">
                <a16:creationId xmlns:a16="http://schemas.microsoft.com/office/drawing/2014/main" id="{B5292107-26DD-8044-A817-72176860C5E6}"/>
              </a:ext>
            </a:extLst>
          </p:cNvPr>
          <p:cNvGrpSpPr/>
          <p:nvPr userDrawn="1"/>
        </p:nvGrpSpPr>
        <p:grpSpPr>
          <a:xfrm>
            <a:off x="3222996" y="1574087"/>
            <a:ext cx="1575487" cy="1506738"/>
            <a:chOff x="2187613" y="1467748"/>
            <a:chExt cx="1575487" cy="1506738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19EE21A3-D3E9-CB4B-9EA8-6F5A40B2379F}"/>
                </a:ext>
              </a:extLst>
            </p:cNvPr>
            <p:cNvSpPr/>
            <p:nvPr userDrawn="1"/>
          </p:nvSpPr>
          <p:spPr>
            <a:xfrm>
              <a:off x="21876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F0A79B47-1AE1-9148-A011-01A7E6D7884F}"/>
                </a:ext>
              </a:extLst>
            </p:cNvPr>
            <p:cNvSpPr/>
            <p:nvPr userDrawn="1"/>
          </p:nvSpPr>
          <p:spPr>
            <a:xfrm>
              <a:off x="2187613" y="1467748"/>
              <a:ext cx="271337" cy="1506738"/>
            </a:xfrm>
            <a:prstGeom prst="rect">
              <a:avLst/>
            </a:prstGeom>
            <a:solidFill>
              <a:srgbClr val="9579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DD88940D-0026-E04C-B1F6-ECF8D717DA28}"/>
                </a:ext>
              </a:extLst>
            </p:cNvPr>
            <p:cNvSpPr/>
            <p:nvPr userDrawn="1"/>
          </p:nvSpPr>
          <p:spPr>
            <a:xfrm>
              <a:off x="24902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2"/>
                  </a:solidFill>
                </a:rPr>
                <a:t>R: </a:t>
              </a:r>
              <a:r>
                <a:rPr lang="en-US" sz="2000">
                  <a:solidFill>
                    <a:schemeClr val="accent2"/>
                  </a:solidFill>
                </a:rPr>
                <a:t>149</a:t>
              </a:r>
              <a:endParaRPr lang="en-US" sz="2000" b="1">
                <a:solidFill>
                  <a:schemeClr val="accent2"/>
                </a:solidFill>
              </a:endParaRPr>
            </a:p>
            <a:p>
              <a:r>
                <a:rPr lang="en-US" sz="2000" b="1">
                  <a:solidFill>
                    <a:schemeClr val="accent2"/>
                  </a:solidFill>
                </a:rPr>
                <a:t>G: </a:t>
              </a:r>
              <a:r>
                <a:rPr lang="en-US" sz="2000">
                  <a:solidFill>
                    <a:schemeClr val="accent2"/>
                  </a:solidFill>
                </a:rPr>
                <a:t>121</a:t>
              </a:r>
            </a:p>
            <a:p>
              <a:r>
                <a:rPr lang="en-US" sz="2000" b="1">
                  <a:solidFill>
                    <a:schemeClr val="accent2"/>
                  </a:solidFill>
                </a:rPr>
                <a:t>B: </a:t>
              </a:r>
              <a:r>
                <a:rPr lang="en-US" sz="2000">
                  <a:solidFill>
                    <a:schemeClr val="accent2"/>
                  </a:solidFill>
                </a:rPr>
                <a:t>211</a:t>
              </a:r>
              <a:endParaRPr lang="en-GB" sz="2000">
                <a:solidFill>
                  <a:schemeClr val="accent2"/>
                </a:solidFill>
              </a:endParaRPr>
            </a:p>
          </p:txBody>
        </p:sp>
      </p:grpSp>
      <p:grpSp>
        <p:nvGrpSpPr>
          <p:cNvPr id="111" name="Group 110" descr="Magenta">
            <a:extLst>
              <a:ext uri="{FF2B5EF4-FFF2-40B4-BE49-F238E27FC236}">
                <a16:creationId xmlns:a16="http://schemas.microsoft.com/office/drawing/2014/main" id="{2083D662-FB9D-DA4F-B03B-3C03AAAB0C87}"/>
              </a:ext>
            </a:extLst>
          </p:cNvPr>
          <p:cNvGrpSpPr/>
          <p:nvPr userDrawn="1"/>
        </p:nvGrpSpPr>
        <p:grpSpPr>
          <a:xfrm>
            <a:off x="4885845" y="1562638"/>
            <a:ext cx="1580992" cy="1506738"/>
            <a:chOff x="4130713" y="1467748"/>
            <a:chExt cx="1580992" cy="1506738"/>
          </a:xfrm>
        </p:grpSpPr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A31BAE8C-0899-4340-BB4D-A245201C4AED}"/>
                </a:ext>
              </a:extLst>
            </p:cNvPr>
            <p:cNvSpPr/>
            <p:nvPr userDrawn="1"/>
          </p:nvSpPr>
          <p:spPr>
            <a:xfrm>
              <a:off x="41307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F1A0C307-D642-0B44-8887-11B2351077ED}"/>
                </a:ext>
              </a:extLst>
            </p:cNvPr>
            <p:cNvSpPr/>
            <p:nvPr userDrawn="1"/>
          </p:nvSpPr>
          <p:spPr>
            <a:xfrm>
              <a:off x="4130713" y="1467748"/>
              <a:ext cx="271337" cy="150673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43918220-20CD-2F46-B795-343E0D2342F1}"/>
                </a:ext>
              </a:extLst>
            </p:cNvPr>
            <p:cNvSpPr/>
            <p:nvPr userDrawn="1"/>
          </p:nvSpPr>
          <p:spPr>
            <a:xfrm>
              <a:off x="4438812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3"/>
                  </a:solidFill>
                </a:rPr>
                <a:t>R: </a:t>
              </a:r>
              <a:r>
                <a:rPr lang="en-US" sz="2000">
                  <a:solidFill>
                    <a:schemeClr val="accent3"/>
                  </a:solidFill>
                </a:rPr>
                <a:t>236</a:t>
              </a:r>
              <a:endParaRPr lang="en-US" sz="2000" b="1">
                <a:solidFill>
                  <a:schemeClr val="accent3"/>
                </a:solidFill>
              </a:endParaRPr>
            </a:p>
            <a:p>
              <a:r>
                <a:rPr lang="en-US" sz="2000" b="1">
                  <a:solidFill>
                    <a:schemeClr val="accent3"/>
                  </a:solidFill>
                </a:rPr>
                <a:t>G: </a:t>
              </a:r>
              <a:r>
                <a:rPr lang="en-US" sz="2000">
                  <a:solidFill>
                    <a:schemeClr val="accent3"/>
                  </a:solidFill>
                </a:rPr>
                <a:t>0</a:t>
              </a:r>
            </a:p>
            <a:p>
              <a:r>
                <a:rPr lang="en-US" sz="2000" b="1">
                  <a:solidFill>
                    <a:schemeClr val="accent3"/>
                  </a:solidFill>
                </a:rPr>
                <a:t>B: </a:t>
              </a:r>
              <a:r>
                <a:rPr lang="en-US" sz="2000">
                  <a:solidFill>
                    <a:schemeClr val="accent3"/>
                  </a:solidFill>
                </a:rPr>
                <a:t>140</a:t>
              </a:r>
              <a:endParaRPr lang="en-GB" sz="2000">
                <a:solidFill>
                  <a:schemeClr val="accent3"/>
                </a:solidFill>
              </a:endParaRPr>
            </a:p>
          </p:txBody>
        </p:sp>
      </p:grpSp>
      <p:grpSp>
        <p:nvGrpSpPr>
          <p:cNvPr id="115" name="Group 114" descr="Blue">
            <a:extLst>
              <a:ext uri="{FF2B5EF4-FFF2-40B4-BE49-F238E27FC236}">
                <a16:creationId xmlns:a16="http://schemas.microsoft.com/office/drawing/2014/main" id="{65487E8E-8FFC-F64B-A968-819D82175384}"/>
              </a:ext>
            </a:extLst>
          </p:cNvPr>
          <p:cNvGrpSpPr/>
          <p:nvPr userDrawn="1"/>
        </p:nvGrpSpPr>
        <p:grpSpPr>
          <a:xfrm>
            <a:off x="6588656" y="1569541"/>
            <a:ext cx="1575487" cy="1506738"/>
            <a:chOff x="6073813" y="1467748"/>
            <a:chExt cx="1575487" cy="1506738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59B93EA4-4E30-A540-A896-336C0F2F146D}"/>
                </a:ext>
              </a:extLst>
            </p:cNvPr>
            <p:cNvSpPr/>
            <p:nvPr userDrawn="1"/>
          </p:nvSpPr>
          <p:spPr>
            <a:xfrm>
              <a:off x="60738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0E4850F7-653D-8B48-9106-DA6133B38560}"/>
                </a:ext>
              </a:extLst>
            </p:cNvPr>
            <p:cNvSpPr/>
            <p:nvPr userDrawn="1"/>
          </p:nvSpPr>
          <p:spPr>
            <a:xfrm>
              <a:off x="6073813" y="1467748"/>
              <a:ext cx="271337" cy="15067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E98AA5C8-7622-EE4F-8B95-F3DF59B7A94D}"/>
                </a:ext>
              </a:extLst>
            </p:cNvPr>
            <p:cNvSpPr/>
            <p:nvPr userDrawn="1"/>
          </p:nvSpPr>
          <p:spPr>
            <a:xfrm>
              <a:off x="63764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4"/>
                  </a:solidFill>
                </a:rPr>
                <a:t>R: </a:t>
              </a:r>
              <a:r>
                <a:rPr lang="en-US" sz="2000">
                  <a:solidFill>
                    <a:schemeClr val="accent4"/>
                  </a:solidFill>
                </a:rPr>
                <a:t>32</a:t>
              </a:r>
              <a:endParaRPr lang="en-US" sz="2000" b="1">
                <a:solidFill>
                  <a:schemeClr val="accent4"/>
                </a:solidFill>
              </a:endParaRPr>
            </a:p>
            <a:p>
              <a:r>
                <a:rPr lang="en-US" sz="2000" b="1">
                  <a:solidFill>
                    <a:schemeClr val="accent4"/>
                  </a:solidFill>
                </a:rPr>
                <a:t>G: </a:t>
              </a:r>
              <a:r>
                <a:rPr lang="en-US" sz="2000">
                  <a:solidFill>
                    <a:schemeClr val="accent4"/>
                  </a:solidFill>
                </a:rPr>
                <a:t>159</a:t>
              </a:r>
            </a:p>
            <a:p>
              <a:r>
                <a:rPr lang="en-US" sz="2000" b="1">
                  <a:solidFill>
                    <a:schemeClr val="accent4"/>
                  </a:solidFill>
                </a:rPr>
                <a:t>B: </a:t>
              </a:r>
              <a:r>
                <a:rPr lang="en-US" sz="2000">
                  <a:solidFill>
                    <a:schemeClr val="accent4"/>
                  </a:solidFill>
                </a:rPr>
                <a:t>237</a:t>
              </a:r>
              <a:endParaRPr lang="en-GB" sz="2000">
                <a:solidFill>
                  <a:schemeClr val="accent4"/>
                </a:solidFill>
              </a:endParaRPr>
            </a:p>
          </p:txBody>
        </p:sp>
      </p:grpSp>
      <p:grpSp>
        <p:nvGrpSpPr>
          <p:cNvPr id="119" name="Group 118" descr="Orange 1">
            <a:extLst>
              <a:ext uri="{FF2B5EF4-FFF2-40B4-BE49-F238E27FC236}">
                <a16:creationId xmlns:a16="http://schemas.microsoft.com/office/drawing/2014/main" id="{F292B10A-DA76-0B4C-BABA-0DA150250D3D}"/>
              </a:ext>
            </a:extLst>
          </p:cNvPr>
          <p:cNvGrpSpPr/>
          <p:nvPr userDrawn="1"/>
        </p:nvGrpSpPr>
        <p:grpSpPr>
          <a:xfrm>
            <a:off x="1572981" y="3505738"/>
            <a:ext cx="1575487" cy="1506738"/>
            <a:chOff x="244513" y="3410848"/>
            <a:chExt cx="1575487" cy="1506738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9A14056F-E273-4440-8AEB-E2B1599C41CF}"/>
                </a:ext>
              </a:extLst>
            </p:cNvPr>
            <p:cNvSpPr/>
            <p:nvPr userDrawn="1"/>
          </p:nvSpPr>
          <p:spPr>
            <a:xfrm>
              <a:off x="2445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2678156A-FB2A-A14D-976E-68E947C3AC7A}"/>
                </a:ext>
              </a:extLst>
            </p:cNvPr>
            <p:cNvSpPr/>
            <p:nvPr userDrawn="1"/>
          </p:nvSpPr>
          <p:spPr>
            <a:xfrm>
              <a:off x="244513" y="3410848"/>
              <a:ext cx="271337" cy="15067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5BCBC214-8F9A-BB47-9D35-0276FDF70FB4}"/>
                </a:ext>
              </a:extLst>
            </p:cNvPr>
            <p:cNvSpPr/>
            <p:nvPr userDrawn="1"/>
          </p:nvSpPr>
          <p:spPr>
            <a:xfrm>
              <a:off x="5471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5"/>
                  </a:solidFill>
                </a:rPr>
                <a:t>R: </a:t>
              </a:r>
              <a:r>
                <a:rPr lang="en-US" sz="2000">
                  <a:solidFill>
                    <a:schemeClr val="accent5"/>
                  </a:solidFill>
                </a:rPr>
                <a:t>249</a:t>
              </a:r>
              <a:endParaRPr lang="en-US" sz="2000" b="1">
                <a:solidFill>
                  <a:schemeClr val="accent5"/>
                </a:solidFill>
              </a:endParaRPr>
            </a:p>
            <a:p>
              <a:r>
                <a:rPr lang="en-US" sz="2000" b="1">
                  <a:solidFill>
                    <a:schemeClr val="accent5"/>
                  </a:solidFill>
                </a:rPr>
                <a:t>G: </a:t>
              </a:r>
              <a:r>
                <a:rPr lang="en-US" sz="2000">
                  <a:solidFill>
                    <a:schemeClr val="accent5"/>
                  </a:solidFill>
                </a:rPr>
                <a:t>142</a:t>
              </a:r>
            </a:p>
            <a:p>
              <a:r>
                <a:rPr lang="en-US" sz="2000" b="1">
                  <a:solidFill>
                    <a:schemeClr val="accent5"/>
                  </a:solidFill>
                </a:rPr>
                <a:t>B: </a:t>
              </a:r>
              <a:r>
                <a:rPr lang="en-US" sz="2000">
                  <a:solidFill>
                    <a:schemeClr val="accent5"/>
                  </a:solidFill>
                </a:rPr>
                <a:t>43</a:t>
              </a:r>
              <a:endParaRPr lang="en-GB" sz="2000">
                <a:solidFill>
                  <a:schemeClr val="accent5"/>
                </a:solidFill>
              </a:endParaRPr>
            </a:p>
          </p:txBody>
        </p:sp>
      </p:grpSp>
      <p:grpSp>
        <p:nvGrpSpPr>
          <p:cNvPr id="123" name="Group 122" descr="Teal">
            <a:extLst>
              <a:ext uri="{FF2B5EF4-FFF2-40B4-BE49-F238E27FC236}">
                <a16:creationId xmlns:a16="http://schemas.microsoft.com/office/drawing/2014/main" id="{CE316CF1-2524-DF42-A56E-090DF8BBE51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3233867" y="3505738"/>
            <a:ext cx="1575487" cy="1506738"/>
            <a:chOff x="2187613" y="3410848"/>
            <a:chExt cx="1575487" cy="1506738"/>
          </a:xfrm>
        </p:grpSpPr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7193C03A-40FE-B246-A9BB-B8050C178BBD}"/>
                </a:ext>
              </a:extLst>
            </p:cNvPr>
            <p:cNvSpPr/>
            <p:nvPr userDrawn="1"/>
          </p:nvSpPr>
          <p:spPr>
            <a:xfrm>
              <a:off x="21876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B2891D55-44A9-004E-A123-21BBFC39434E}"/>
                </a:ext>
              </a:extLst>
            </p:cNvPr>
            <p:cNvSpPr/>
            <p:nvPr userDrawn="1"/>
          </p:nvSpPr>
          <p:spPr>
            <a:xfrm>
              <a:off x="2187613" y="3410848"/>
              <a:ext cx="271337" cy="15067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B64BF679-D72A-E44A-BC8A-FE435872D661}"/>
                </a:ext>
              </a:extLst>
            </p:cNvPr>
            <p:cNvSpPr/>
            <p:nvPr userDrawn="1"/>
          </p:nvSpPr>
          <p:spPr>
            <a:xfrm>
              <a:off x="24902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6"/>
                  </a:solidFill>
                </a:rPr>
                <a:t>R: </a:t>
              </a:r>
              <a:r>
                <a:rPr lang="en-US" sz="2000">
                  <a:solidFill>
                    <a:schemeClr val="accent6"/>
                  </a:solidFill>
                </a:rPr>
                <a:t>0</a:t>
              </a:r>
              <a:endParaRPr lang="en-US" sz="2000" b="1">
                <a:solidFill>
                  <a:schemeClr val="accent6"/>
                </a:solidFill>
              </a:endParaRPr>
            </a:p>
            <a:p>
              <a:r>
                <a:rPr lang="en-US" sz="2000" b="1">
                  <a:solidFill>
                    <a:schemeClr val="accent6"/>
                  </a:solidFill>
                </a:rPr>
                <a:t>G: </a:t>
              </a:r>
              <a:r>
                <a:rPr lang="en-US" sz="2000">
                  <a:solidFill>
                    <a:schemeClr val="accent6"/>
                  </a:solidFill>
                </a:rPr>
                <a:t>188</a:t>
              </a:r>
            </a:p>
            <a:p>
              <a:r>
                <a:rPr lang="en-US" sz="2000" b="1">
                  <a:solidFill>
                    <a:schemeClr val="accent6"/>
                  </a:solidFill>
                </a:rPr>
                <a:t>B: </a:t>
              </a:r>
              <a:r>
                <a:rPr lang="en-US" sz="2000">
                  <a:solidFill>
                    <a:schemeClr val="accent6"/>
                  </a:solidFill>
                </a:rPr>
                <a:t>181</a:t>
              </a:r>
              <a:endParaRPr lang="en-GB" sz="2000">
                <a:solidFill>
                  <a:schemeClr val="accent6"/>
                </a:solidFill>
              </a:endParaRPr>
            </a:p>
          </p:txBody>
        </p:sp>
      </p:grpSp>
      <p:grpSp>
        <p:nvGrpSpPr>
          <p:cNvPr id="127" name="Group 126" descr="Lime Green">
            <a:extLst>
              <a:ext uri="{FF2B5EF4-FFF2-40B4-BE49-F238E27FC236}">
                <a16:creationId xmlns:a16="http://schemas.microsoft.com/office/drawing/2014/main" id="{F1FF8A74-F615-814D-ACED-A56688E41CCC}"/>
              </a:ext>
            </a:extLst>
          </p:cNvPr>
          <p:cNvGrpSpPr/>
          <p:nvPr userDrawn="1"/>
        </p:nvGrpSpPr>
        <p:grpSpPr>
          <a:xfrm>
            <a:off x="4889027" y="3511500"/>
            <a:ext cx="1576056" cy="1506738"/>
            <a:chOff x="4130713" y="3410848"/>
            <a:chExt cx="1576056" cy="1506738"/>
          </a:xfrm>
        </p:grpSpPr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03AFF5CC-C68B-C845-9F02-9BD6B9D86136}"/>
                </a:ext>
              </a:extLst>
            </p:cNvPr>
            <p:cNvSpPr/>
            <p:nvPr userDrawn="1"/>
          </p:nvSpPr>
          <p:spPr>
            <a:xfrm>
              <a:off x="41307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A7B4A4A3-1BA4-AC44-AE58-F43EBACE6961}"/>
                </a:ext>
              </a:extLst>
            </p:cNvPr>
            <p:cNvSpPr/>
            <p:nvPr userDrawn="1"/>
          </p:nvSpPr>
          <p:spPr>
            <a:xfrm>
              <a:off x="4130713" y="3410848"/>
              <a:ext cx="271337" cy="15067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6E859D82-EACD-7D4C-B00F-5B449327C190}"/>
                </a:ext>
              </a:extLst>
            </p:cNvPr>
            <p:cNvSpPr/>
            <p:nvPr userDrawn="1"/>
          </p:nvSpPr>
          <p:spPr>
            <a:xfrm>
              <a:off x="4438812" y="3645326"/>
              <a:ext cx="1267957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bg2"/>
                  </a:solidFill>
                </a:rPr>
                <a:t>R: </a:t>
              </a:r>
              <a:r>
                <a:rPr lang="en-US" sz="2000">
                  <a:solidFill>
                    <a:schemeClr val="bg2"/>
                  </a:solidFill>
                </a:rPr>
                <a:t>163</a:t>
              </a:r>
              <a:endParaRPr lang="en-US" sz="2000" b="1">
                <a:solidFill>
                  <a:schemeClr val="bg2"/>
                </a:solidFill>
              </a:endParaRPr>
            </a:p>
            <a:p>
              <a:r>
                <a:rPr lang="en-US" sz="2000" b="1">
                  <a:solidFill>
                    <a:schemeClr val="bg2"/>
                  </a:solidFill>
                </a:rPr>
                <a:t>G: </a:t>
              </a:r>
              <a:r>
                <a:rPr lang="en-US" sz="2000">
                  <a:solidFill>
                    <a:schemeClr val="bg2"/>
                  </a:solidFill>
                </a:rPr>
                <a:t>213</a:t>
              </a:r>
            </a:p>
            <a:p>
              <a:r>
                <a:rPr lang="en-US" sz="2000" b="1">
                  <a:solidFill>
                    <a:schemeClr val="bg2"/>
                  </a:solidFill>
                </a:rPr>
                <a:t>B:</a:t>
              </a:r>
              <a:r>
                <a:rPr lang="en-US" sz="2000">
                  <a:solidFill>
                    <a:schemeClr val="bg2"/>
                  </a:solidFill>
                </a:rPr>
                <a:t> 95</a:t>
              </a:r>
              <a:endParaRPr lang="en-GB" sz="2000">
                <a:solidFill>
                  <a:schemeClr val="bg2"/>
                </a:solidFill>
              </a:endParaRPr>
            </a:p>
          </p:txBody>
        </p:sp>
      </p:grpSp>
      <p:grpSp>
        <p:nvGrpSpPr>
          <p:cNvPr id="131" name="Group 130" descr="Orange 2">
            <a:extLst>
              <a:ext uri="{FF2B5EF4-FFF2-40B4-BE49-F238E27FC236}">
                <a16:creationId xmlns:a16="http://schemas.microsoft.com/office/drawing/2014/main" id="{351800EE-4F91-DE4B-A1AE-8280C7751D23}"/>
              </a:ext>
            </a:extLst>
          </p:cNvPr>
          <p:cNvGrpSpPr/>
          <p:nvPr userDrawn="1"/>
        </p:nvGrpSpPr>
        <p:grpSpPr>
          <a:xfrm>
            <a:off x="6588656" y="3511500"/>
            <a:ext cx="1575487" cy="1506738"/>
            <a:chOff x="6073813" y="3410848"/>
            <a:chExt cx="1575487" cy="1506738"/>
          </a:xfrm>
        </p:grpSpPr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9DD14A48-A901-D945-8F22-4DE7F102F5BA}"/>
                </a:ext>
              </a:extLst>
            </p:cNvPr>
            <p:cNvSpPr/>
            <p:nvPr userDrawn="1"/>
          </p:nvSpPr>
          <p:spPr>
            <a:xfrm>
              <a:off x="60738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E5FB2419-D5F2-CE47-8EF4-08C212D9AD17}"/>
                </a:ext>
              </a:extLst>
            </p:cNvPr>
            <p:cNvSpPr/>
            <p:nvPr userDrawn="1"/>
          </p:nvSpPr>
          <p:spPr>
            <a:xfrm>
              <a:off x="6073813" y="3410848"/>
              <a:ext cx="271337" cy="1506738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6FA7D566-2914-2E46-8F09-43AE70D5B0A0}"/>
                </a:ext>
              </a:extLst>
            </p:cNvPr>
            <p:cNvSpPr/>
            <p:nvPr userDrawn="1"/>
          </p:nvSpPr>
          <p:spPr>
            <a:xfrm>
              <a:off x="63764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tx2"/>
                  </a:solidFill>
                </a:rPr>
                <a:t>R: </a:t>
              </a:r>
              <a:r>
                <a:rPr lang="en-US" sz="2000">
                  <a:solidFill>
                    <a:schemeClr val="tx2"/>
                  </a:solidFill>
                </a:rPr>
                <a:t>255</a:t>
              </a:r>
              <a:endParaRPr lang="en-US" sz="2000" b="1">
                <a:solidFill>
                  <a:schemeClr val="tx2"/>
                </a:solidFill>
              </a:endParaRPr>
            </a:p>
            <a:p>
              <a:r>
                <a:rPr lang="en-US" sz="2000" b="1">
                  <a:solidFill>
                    <a:schemeClr val="tx2"/>
                  </a:solidFill>
                </a:rPr>
                <a:t>G: </a:t>
              </a:r>
              <a:r>
                <a:rPr lang="en-US" sz="2000">
                  <a:solidFill>
                    <a:schemeClr val="tx2"/>
                  </a:solidFill>
                </a:rPr>
                <a:t>140</a:t>
              </a:r>
            </a:p>
            <a:p>
              <a:r>
                <a:rPr lang="en-US" sz="2000" b="1">
                  <a:solidFill>
                    <a:schemeClr val="tx2"/>
                  </a:solidFill>
                </a:rPr>
                <a:t>B: </a:t>
              </a:r>
              <a:r>
                <a:rPr lang="en-US" sz="2000">
                  <a:solidFill>
                    <a:schemeClr val="tx2"/>
                  </a:solidFill>
                </a:rPr>
                <a:t>0</a:t>
              </a:r>
              <a:endParaRPr lang="en-GB" sz="2000">
                <a:solidFill>
                  <a:schemeClr val="tx2"/>
                </a:solidFill>
              </a:endParaRPr>
            </a:p>
          </p:txBody>
        </p:sp>
      </p:grpSp>
      <p:grpSp>
        <p:nvGrpSpPr>
          <p:cNvPr id="135" name="Group 134" descr="Green">
            <a:extLst>
              <a:ext uri="{FF2B5EF4-FFF2-40B4-BE49-F238E27FC236}">
                <a16:creationId xmlns:a16="http://schemas.microsoft.com/office/drawing/2014/main" id="{BD5A37B2-5E59-544C-9123-906CB3958B27}"/>
              </a:ext>
            </a:extLst>
          </p:cNvPr>
          <p:cNvGrpSpPr/>
          <p:nvPr userDrawn="1"/>
        </p:nvGrpSpPr>
        <p:grpSpPr>
          <a:xfrm>
            <a:off x="8577940" y="1562638"/>
            <a:ext cx="1575487" cy="1506738"/>
            <a:chOff x="8453785" y="1467748"/>
            <a:chExt cx="1575487" cy="1506738"/>
          </a:xfrm>
        </p:grpSpPr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23967114-AF22-A247-802E-935A6151D0E6}"/>
                </a:ext>
              </a:extLst>
            </p:cNvPr>
            <p:cNvSpPr/>
            <p:nvPr userDrawn="1"/>
          </p:nvSpPr>
          <p:spPr>
            <a:xfrm>
              <a:off x="8453785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1A0EE076-2DAB-1C4A-9BE2-738653C936F5}"/>
                </a:ext>
              </a:extLst>
            </p:cNvPr>
            <p:cNvSpPr/>
            <p:nvPr userDrawn="1"/>
          </p:nvSpPr>
          <p:spPr>
            <a:xfrm>
              <a:off x="8453785" y="1467748"/>
              <a:ext cx="271337" cy="1506738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206CEE8C-851F-0448-9E89-6B96B4375CDB}"/>
                </a:ext>
              </a:extLst>
            </p:cNvPr>
            <p:cNvSpPr/>
            <p:nvPr userDrawn="1"/>
          </p:nvSpPr>
          <p:spPr>
            <a:xfrm>
              <a:off x="8756379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rgbClr val="00B050"/>
                  </a:solidFill>
                </a:rPr>
                <a:t>R: </a:t>
              </a:r>
              <a:r>
                <a:rPr lang="en-US" sz="2000">
                  <a:solidFill>
                    <a:srgbClr val="00B050"/>
                  </a:solidFill>
                </a:rPr>
                <a:t> 0</a:t>
              </a:r>
              <a:endParaRPr lang="en-US" sz="2000" b="1">
                <a:solidFill>
                  <a:srgbClr val="00B050"/>
                </a:solidFill>
              </a:endParaRPr>
            </a:p>
            <a:p>
              <a:r>
                <a:rPr lang="en-US" sz="2000" b="1">
                  <a:solidFill>
                    <a:srgbClr val="00B050"/>
                  </a:solidFill>
                </a:rPr>
                <a:t>G:  </a:t>
              </a:r>
              <a:r>
                <a:rPr lang="en-US" sz="2000">
                  <a:solidFill>
                    <a:srgbClr val="00B050"/>
                  </a:solidFill>
                </a:rPr>
                <a:t>176</a:t>
              </a:r>
            </a:p>
            <a:p>
              <a:r>
                <a:rPr lang="en-US" sz="2000" b="1">
                  <a:solidFill>
                    <a:srgbClr val="00B050"/>
                  </a:solidFill>
                </a:rPr>
                <a:t>B: </a:t>
              </a:r>
              <a:r>
                <a:rPr lang="en-US" sz="2000">
                  <a:solidFill>
                    <a:srgbClr val="00B050"/>
                  </a:solidFill>
                </a:rPr>
                <a:t> 80</a:t>
              </a:r>
              <a:endParaRPr lang="en-GB" sz="2000">
                <a:solidFill>
                  <a:srgbClr val="00B050"/>
                </a:solidFill>
              </a:endParaRPr>
            </a:p>
          </p:txBody>
        </p:sp>
      </p:grpSp>
      <p:grpSp>
        <p:nvGrpSpPr>
          <p:cNvPr id="139" name="Group 138" descr="Red">
            <a:extLst>
              <a:ext uri="{FF2B5EF4-FFF2-40B4-BE49-F238E27FC236}">
                <a16:creationId xmlns:a16="http://schemas.microsoft.com/office/drawing/2014/main" id="{7F216DB9-4D22-B94A-919F-C98D9B6A0CB0}"/>
              </a:ext>
            </a:extLst>
          </p:cNvPr>
          <p:cNvGrpSpPr/>
          <p:nvPr userDrawn="1"/>
        </p:nvGrpSpPr>
        <p:grpSpPr>
          <a:xfrm>
            <a:off x="8578725" y="3505738"/>
            <a:ext cx="1575487" cy="1506738"/>
            <a:chOff x="8453785" y="3410848"/>
            <a:chExt cx="1575487" cy="1506738"/>
          </a:xfrm>
        </p:grpSpPr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98255592-A229-BF42-8B04-C4803FA7897B}"/>
                </a:ext>
              </a:extLst>
            </p:cNvPr>
            <p:cNvSpPr/>
            <p:nvPr userDrawn="1"/>
          </p:nvSpPr>
          <p:spPr>
            <a:xfrm>
              <a:off x="8453785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647DE5AA-291D-0340-BEE9-D6B6D4FEE66C}"/>
                </a:ext>
              </a:extLst>
            </p:cNvPr>
            <p:cNvSpPr/>
            <p:nvPr userDrawn="1"/>
          </p:nvSpPr>
          <p:spPr>
            <a:xfrm>
              <a:off x="8453785" y="3410848"/>
              <a:ext cx="271337" cy="150673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C4AC9AB1-32EB-B04C-8C29-E268ACB7AE02}"/>
                </a:ext>
              </a:extLst>
            </p:cNvPr>
            <p:cNvSpPr/>
            <p:nvPr userDrawn="1"/>
          </p:nvSpPr>
          <p:spPr>
            <a:xfrm>
              <a:off x="8756379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rgbClr val="C00000"/>
                  </a:solidFill>
                </a:rPr>
                <a:t>R:  </a:t>
              </a:r>
              <a:r>
                <a:rPr lang="en-US" sz="2000">
                  <a:solidFill>
                    <a:srgbClr val="C00000"/>
                  </a:solidFill>
                </a:rPr>
                <a:t>192</a:t>
              </a:r>
              <a:endParaRPr lang="en-US" sz="2000" b="1">
                <a:solidFill>
                  <a:srgbClr val="C00000"/>
                </a:solidFill>
              </a:endParaRPr>
            </a:p>
            <a:p>
              <a:r>
                <a:rPr lang="en-US" sz="2000" b="1">
                  <a:solidFill>
                    <a:srgbClr val="C00000"/>
                  </a:solidFill>
                </a:rPr>
                <a:t>G:  </a:t>
              </a:r>
              <a:r>
                <a:rPr lang="en-US" sz="2000">
                  <a:solidFill>
                    <a:srgbClr val="C00000"/>
                  </a:solidFill>
                </a:rPr>
                <a:t>0</a:t>
              </a:r>
            </a:p>
            <a:p>
              <a:r>
                <a:rPr lang="en-US" sz="2000" b="1">
                  <a:solidFill>
                    <a:srgbClr val="C00000"/>
                  </a:solidFill>
                </a:rPr>
                <a:t>B:  </a:t>
              </a:r>
              <a:r>
                <a:rPr lang="en-US" sz="2000">
                  <a:solidFill>
                    <a:srgbClr val="C00000"/>
                  </a:solidFill>
                </a:rPr>
                <a:t>0</a:t>
              </a:r>
              <a:endParaRPr lang="en-GB" sz="2000">
                <a:solidFill>
                  <a:srgbClr val="C00000"/>
                </a:solidFill>
              </a:endParaRPr>
            </a:p>
          </p:txBody>
        </p:sp>
      </p:grpSp>
      <p:sp>
        <p:nvSpPr>
          <p:cNvPr id="143" name="Rectangle 142">
            <a:extLst>
              <a:ext uri="{FF2B5EF4-FFF2-40B4-BE49-F238E27FC236}">
                <a16:creationId xmlns:a16="http://schemas.microsoft.com/office/drawing/2014/main" id="{0EF180D4-9DA2-4447-A227-089D83B157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72982" y="5341920"/>
            <a:ext cx="485709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97603AE-52CA-5C43-B769-0D2083CF0A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88656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54AAC929-1D3C-C24E-8903-2B42902808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72981" y="1399680"/>
            <a:ext cx="6559905" cy="74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5976D18E-B1C4-AC43-84AD-27BDACA1AC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77939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3C9B85CD-DCE0-B641-ADB1-31ABB01C1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77940" y="1401027"/>
            <a:ext cx="1527906" cy="735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FF63B7F6-0191-E541-8CAE-2ABA89239F3F}"/>
              </a:ext>
            </a:extLst>
          </p:cNvPr>
          <p:cNvSpPr/>
          <p:nvPr userDrawn="1"/>
        </p:nvSpPr>
        <p:spPr>
          <a:xfrm>
            <a:off x="1572981" y="872702"/>
            <a:ext cx="655990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Primary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0395EFF-C10C-3845-932E-9A7BB1811F82}"/>
              </a:ext>
            </a:extLst>
          </p:cNvPr>
          <p:cNvSpPr/>
          <p:nvPr userDrawn="1"/>
        </p:nvSpPr>
        <p:spPr>
          <a:xfrm>
            <a:off x="1572981" y="5378162"/>
            <a:ext cx="4857094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Secondary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631BF3B0-3FBE-134E-A875-9FEDF5E61852}"/>
              </a:ext>
            </a:extLst>
          </p:cNvPr>
          <p:cNvSpPr/>
          <p:nvPr userDrawn="1"/>
        </p:nvSpPr>
        <p:spPr>
          <a:xfrm>
            <a:off x="6561932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Highlight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EAF3F6A1-22E9-6E45-B670-98D1F2F6E1E7}"/>
              </a:ext>
            </a:extLst>
          </p:cNvPr>
          <p:cNvSpPr/>
          <p:nvPr userDrawn="1"/>
        </p:nvSpPr>
        <p:spPr>
          <a:xfrm>
            <a:off x="8585338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Negative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A76561BC-F579-3941-864A-37661637EECD}"/>
              </a:ext>
            </a:extLst>
          </p:cNvPr>
          <p:cNvSpPr/>
          <p:nvPr userDrawn="1"/>
        </p:nvSpPr>
        <p:spPr>
          <a:xfrm>
            <a:off x="8578725" y="872702"/>
            <a:ext cx="154344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Positive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AA6DC59C-D1E9-3C49-A05D-13BF7B0EB2D0}"/>
              </a:ext>
            </a:extLst>
          </p:cNvPr>
          <p:cNvSpPr txBox="1"/>
          <p:nvPr userDrawn="1"/>
        </p:nvSpPr>
        <p:spPr>
          <a:xfrm>
            <a:off x="1936466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1"/>
                </a:solidFill>
              </a:rPr>
              <a:t>HEX# 30006F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047D8D57-D2E5-BB48-8095-1BBDF6F756E9}"/>
              </a:ext>
            </a:extLst>
          </p:cNvPr>
          <p:cNvSpPr txBox="1"/>
          <p:nvPr userDrawn="1"/>
        </p:nvSpPr>
        <p:spPr>
          <a:xfrm>
            <a:off x="3595145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2"/>
                </a:solidFill>
              </a:rPr>
              <a:t>HEX# 9579D3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CBFACF9E-0F2C-C045-839D-CD22CFF1D5CC}"/>
              </a:ext>
            </a:extLst>
          </p:cNvPr>
          <p:cNvSpPr txBox="1"/>
          <p:nvPr userDrawn="1"/>
        </p:nvSpPr>
        <p:spPr>
          <a:xfrm>
            <a:off x="5253824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3"/>
                </a:solidFill>
              </a:rPr>
              <a:t>HEX# EC008C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1AD468D3-D19E-6340-8B20-9A54E31B5FC1}"/>
              </a:ext>
            </a:extLst>
          </p:cNvPr>
          <p:cNvSpPr txBox="1"/>
          <p:nvPr userDrawn="1"/>
        </p:nvSpPr>
        <p:spPr>
          <a:xfrm>
            <a:off x="6955034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4"/>
                </a:solidFill>
              </a:rPr>
              <a:t>HEX# 209FED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86F68BC6-D90B-6F42-B7EC-3498F07ABE99}"/>
              </a:ext>
            </a:extLst>
          </p:cNvPr>
          <p:cNvSpPr txBox="1"/>
          <p:nvPr userDrawn="1"/>
        </p:nvSpPr>
        <p:spPr>
          <a:xfrm>
            <a:off x="8953955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rgbClr val="00B050"/>
                </a:solidFill>
              </a:rPr>
              <a:t>HEX# 00B050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38428FF3-8EE5-E04B-8B60-6F9319EC535F}"/>
              </a:ext>
            </a:extLst>
          </p:cNvPr>
          <p:cNvSpPr txBox="1"/>
          <p:nvPr userDrawn="1"/>
        </p:nvSpPr>
        <p:spPr>
          <a:xfrm>
            <a:off x="1936466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rgbClr val="F98E2B"/>
                </a:solidFill>
              </a:rPr>
              <a:t>HEX# F98E2B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4117254E-51C7-0341-BB74-DE12AACB0015}"/>
              </a:ext>
            </a:extLst>
          </p:cNvPr>
          <p:cNvSpPr txBox="1"/>
          <p:nvPr userDrawn="1"/>
        </p:nvSpPr>
        <p:spPr>
          <a:xfrm>
            <a:off x="3595145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6"/>
                </a:solidFill>
              </a:rPr>
              <a:t>HEX# 00BCB5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A3D0A5BC-6F0C-744A-91A9-05243CB9D83D}"/>
              </a:ext>
            </a:extLst>
          </p:cNvPr>
          <p:cNvSpPr txBox="1"/>
          <p:nvPr userDrawn="1"/>
        </p:nvSpPr>
        <p:spPr>
          <a:xfrm>
            <a:off x="5253824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bg2"/>
                </a:solidFill>
              </a:rPr>
              <a:t>HEX# A3D55F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F965AB05-4EAA-044D-A450-60F0758F6AC6}"/>
              </a:ext>
            </a:extLst>
          </p:cNvPr>
          <p:cNvSpPr txBox="1"/>
          <p:nvPr userDrawn="1"/>
        </p:nvSpPr>
        <p:spPr>
          <a:xfrm>
            <a:off x="6955034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5"/>
                </a:solidFill>
              </a:rPr>
              <a:t>HEX# FF8C00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C71C4863-9D50-7446-A539-9244A0F26D6D}"/>
              </a:ext>
            </a:extLst>
          </p:cNvPr>
          <p:cNvSpPr txBox="1"/>
          <p:nvPr userDrawn="1"/>
        </p:nvSpPr>
        <p:spPr>
          <a:xfrm>
            <a:off x="8953955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rgbClr val="C00000"/>
                </a:solidFill>
              </a:rPr>
              <a:t>HEX# C00000</a:t>
            </a:r>
          </a:p>
        </p:txBody>
      </p:sp>
    </p:spTree>
    <p:extLst>
      <p:ext uri="{BB962C8B-B14F-4D97-AF65-F5344CB8AC3E}">
        <p14:creationId xmlns:p14="http://schemas.microsoft.com/office/powerpoint/2010/main" val="7714666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Phot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-9427" y="0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Circle: Hollow 431">
            <a:extLst>
              <a:ext uri="{FF2B5EF4-FFF2-40B4-BE49-F238E27FC236}">
                <a16:creationId xmlns:a16="http://schemas.microsoft.com/office/drawing/2014/main" id="{57A7EDDE-A682-F643-A0B1-3B46220F1CE2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1" name="Circle: Hollow 98">
            <a:extLst>
              <a:ext uri="{FF2B5EF4-FFF2-40B4-BE49-F238E27FC236}">
                <a16:creationId xmlns:a16="http://schemas.microsoft.com/office/drawing/2014/main" id="{7BE70FEE-5235-F640-A965-624BC02A2BAE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2" name="Circle: Hollow 429">
            <a:extLst>
              <a:ext uri="{FF2B5EF4-FFF2-40B4-BE49-F238E27FC236}">
                <a16:creationId xmlns:a16="http://schemas.microsoft.com/office/drawing/2014/main" id="{52A0CA19-25EF-1D41-9EA2-4A5D2578D6BA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3" name="Freeform: Shape 428">
            <a:extLst>
              <a:ext uri="{FF2B5EF4-FFF2-40B4-BE49-F238E27FC236}">
                <a16:creationId xmlns:a16="http://schemas.microsoft.com/office/drawing/2014/main" id="{4938A615-45CE-FB46-878A-24617021150D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24" name="Picture 23" descr="A person holding a paper&#10;&#10;Description automatically generated with low confidence">
            <a:extLst>
              <a:ext uri="{FF2B5EF4-FFF2-40B4-BE49-F238E27FC236}">
                <a16:creationId xmlns:a16="http://schemas.microsoft.com/office/drawing/2014/main" id="{A6F977AD-54EB-5247-B8E1-C6C4D9D335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449" y="6603"/>
            <a:ext cx="5719572" cy="6858000"/>
          </a:xfrm>
          <a:prstGeom prst="rect">
            <a:avLst/>
          </a:prstGeom>
        </p:spPr>
      </p:pic>
      <p:sp>
        <p:nvSpPr>
          <p:cNvPr id="2" name="Title 1" descr="Title Block for Photographic Cover Slide #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 descr="Date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79151" y="1857502"/>
            <a:ext cx="4076394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160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7062" y="6011457"/>
            <a:ext cx="3358484" cy="406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2308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hot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7EE2AA6-0B1C-D74C-ABE4-7BB8ACD3AA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7062" y="6011457"/>
            <a:ext cx="3358484" cy="406040"/>
          </a:xfrm>
          <a:prstGeom prst="rect">
            <a:avLst/>
          </a:prstGeom>
        </p:spPr>
      </p:pic>
      <p:sp>
        <p:nvSpPr>
          <p:cNvPr id="14" name="Circle: Hollow 429">
            <a:extLst>
              <a:ext uri="{FF2B5EF4-FFF2-40B4-BE49-F238E27FC236}">
                <a16:creationId xmlns:a16="http://schemas.microsoft.com/office/drawing/2014/main" id="{2B32D845-9C4E-CC4E-B0B1-1E9DF91787CB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16BBCD-D34F-B141-AC8E-2B234A2B2150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9" name="Circle: Hollow 431">
            <a:extLst>
              <a:ext uri="{FF2B5EF4-FFF2-40B4-BE49-F238E27FC236}">
                <a16:creationId xmlns:a16="http://schemas.microsoft.com/office/drawing/2014/main" id="{9DA91485-4130-CB40-AB98-FBF6CCD4A576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0" name="Circle: Hollow 98">
            <a:extLst>
              <a:ext uri="{FF2B5EF4-FFF2-40B4-BE49-F238E27FC236}">
                <a16:creationId xmlns:a16="http://schemas.microsoft.com/office/drawing/2014/main" id="{3FCD6FCC-CA54-FA44-B790-8FF2B3E1E4AD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8" name="Freeform: Shape 428">
            <a:extLst>
              <a:ext uri="{FF2B5EF4-FFF2-40B4-BE49-F238E27FC236}">
                <a16:creationId xmlns:a16="http://schemas.microsoft.com/office/drawing/2014/main" id="{8C2EE946-C8F9-CF41-A9CE-55AFEF03ED49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9" name="Circle: Hollow 429">
            <a:extLst>
              <a:ext uri="{FF2B5EF4-FFF2-40B4-BE49-F238E27FC236}">
                <a16:creationId xmlns:a16="http://schemas.microsoft.com/office/drawing/2014/main" id="{6153E67C-020B-BC4A-802D-9B292893953C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30" name="Picture 29" descr="A picture containing person, person&#10;&#10;Description automatically generated">
            <a:extLst>
              <a:ext uri="{FF2B5EF4-FFF2-40B4-BE49-F238E27FC236}">
                <a16:creationId xmlns:a16="http://schemas.microsoft.com/office/drawing/2014/main" id="{157DE0CF-5DA4-0D46-932E-60F9F862A16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82059" y="-62564"/>
            <a:ext cx="8431731" cy="8431731"/>
          </a:xfrm>
          <a:prstGeom prst="rect">
            <a:avLst/>
          </a:prstGeom>
        </p:spPr>
      </p:pic>
      <p:sp>
        <p:nvSpPr>
          <p:cNvPr id="15" name="Subtitle 2" descr="Date">
            <a:extLst>
              <a:ext uri="{FF2B5EF4-FFF2-40B4-BE49-F238E27FC236}">
                <a16:creationId xmlns:a16="http://schemas.microsoft.com/office/drawing/2014/main" id="{886991B3-DBBA-DA4E-9D36-606AB4C2F7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08397" y="1857502"/>
            <a:ext cx="3947148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160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2" name="Title 1" descr="Title Block for Photographic Cover Slide #2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78631" y="519201"/>
            <a:ext cx="5876914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9260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- Phot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E00245-F8EF-9844-97B2-F0BBC4524419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9CDAC45-3DA4-244D-9B30-9452E2A90B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7062" y="6011457"/>
            <a:ext cx="3358484" cy="406040"/>
          </a:xfrm>
          <a:prstGeom prst="rect">
            <a:avLst/>
          </a:prstGeom>
        </p:spPr>
      </p:pic>
      <p:sp>
        <p:nvSpPr>
          <p:cNvPr id="18" name="Circle: Hollow 429">
            <a:extLst>
              <a:ext uri="{FF2B5EF4-FFF2-40B4-BE49-F238E27FC236}">
                <a16:creationId xmlns:a16="http://schemas.microsoft.com/office/drawing/2014/main" id="{BA934172-AFF0-2E4A-BD99-34CA1D7CA719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9" name="Circle: Hollow 429">
            <a:extLst>
              <a:ext uri="{FF2B5EF4-FFF2-40B4-BE49-F238E27FC236}">
                <a16:creationId xmlns:a16="http://schemas.microsoft.com/office/drawing/2014/main" id="{B61B9B1B-CB87-A046-B1E8-15C5842D255F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0" name="Circle: Hollow 431">
            <a:extLst>
              <a:ext uri="{FF2B5EF4-FFF2-40B4-BE49-F238E27FC236}">
                <a16:creationId xmlns:a16="http://schemas.microsoft.com/office/drawing/2014/main" id="{2886C697-6B1E-2B4A-A98C-07B92E6773FB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32" name="Circle: Hollow 98">
            <a:extLst>
              <a:ext uri="{FF2B5EF4-FFF2-40B4-BE49-F238E27FC236}">
                <a16:creationId xmlns:a16="http://schemas.microsoft.com/office/drawing/2014/main" id="{22B3F5AB-CDF8-584D-8089-BC4990A523CE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33" name="Freeform: Shape 428">
            <a:extLst>
              <a:ext uri="{FF2B5EF4-FFF2-40B4-BE49-F238E27FC236}">
                <a16:creationId xmlns:a16="http://schemas.microsoft.com/office/drawing/2014/main" id="{73E73981-0727-E441-8C08-5E3BF6065DBD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" name="Circle: Hollow 429">
            <a:extLst>
              <a:ext uri="{FF2B5EF4-FFF2-40B4-BE49-F238E27FC236}">
                <a16:creationId xmlns:a16="http://schemas.microsoft.com/office/drawing/2014/main" id="{D7BBA76B-663E-E745-A485-B376CCD11DB8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35" name="Picture 34" descr="Two people looking at a computer&#10;&#10;Description automatically generated with medium confidence">
            <a:extLst>
              <a:ext uri="{FF2B5EF4-FFF2-40B4-BE49-F238E27FC236}">
                <a16:creationId xmlns:a16="http://schemas.microsoft.com/office/drawing/2014/main" id="{2810AB67-7454-BA45-B26B-848BBB4EF7F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81758" y="147782"/>
            <a:ext cx="7953388" cy="8330383"/>
          </a:xfrm>
          <a:prstGeom prst="rect">
            <a:avLst/>
          </a:prstGeom>
        </p:spPr>
      </p:pic>
      <p:sp>
        <p:nvSpPr>
          <p:cNvPr id="2" name="Title 1" descr="Title Block for Photographic Cover Slide #3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21" name="Subtitle 2" descr="Date">
            <a:extLst>
              <a:ext uri="{FF2B5EF4-FFF2-40B4-BE49-F238E27FC236}">
                <a16:creationId xmlns:a16="http://schemas.microsoft.com/office/drawing/2014/main" id="{41C172A1-964D-DB46-8CEE-82B388B1A0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160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36743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Simpl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A3E7D9-B718-4AFF-9113-2E8D87C0CE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5160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9A3E7D9-B718-4AFF-9113-2E8D87C0C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326B13-744E-40E6-B876-9381D128C34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Title 1" descr="Title Block for Transistion Slide with Plain Purple Background 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lang="en-US" sz="36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5" name="Text Placeholder 2" descr="Subtitle Block for Transition Slide Purple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4D9DFE-AD6F-7D42-B633-0143317A02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322964" y="3883548"/>
            <a:ext cx="1557435" cy="4180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913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Section Header Simple -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F84DEB2-0A31-4C55-A2D4-69F9A75B2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9230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F84DEB2-0A31-4C55-A2D4-69F9A75B2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640A19-423A-45EA-A23F-21C8A69941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6A97D-F12B-CF42-9AFE-22FA687291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BCFD75-118F-B74E-A7AD-948EF5D167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326920" y="3884062"/>
            <a:ext cx="1553993" cy="4176167"/>
          </a:xfrm>
          <a:prstGeom prst="rect">
            <a:avLst/>
          </a:prstGeom>
        </p:spPr>
      </p:pic>
      <p:sp>
        <p:nvSpPr>
          <p:cNvPr id="2" name="Title 1" descr="Title Block for Transition Slide with Plain Light Grey Background 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3" name="Text Placeholder 2" descr="Subtitle Block for Transition Slide Gray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8728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Simpl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25ACF47-EB87-40E3-AE52-2A6D31B10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8536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25ACF47-EB87-40E3-AE52-2A6D31B105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B246EC0-8F8F-49E4-9EA1-A6272D13FF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 descr="Title Block for Transition Slide with Plain White Background "/>
          <p:cNvSpPr>
            <a:spLocks noGrp="1"/>
          </p:cNvSpPr>
          <p:nvPr>
            <p:ph type="title" hasCustomPrompt="1"/>
          </p:nvPr>
        </p:nvSpPr>
        <p:spPr>
          <a:xfrm>
            <a:off x="885974" y="2176931"/>
            <a:ext cx="9185679" cy="1097280"/>
          </a:xfrm>
        </p:spPr>
        <p:txBody>
          <a:bodyPr anchor="b">
            <a:noAutofit/>
          </a:bodyPr>
          <a:lstStyle>
            <a:lvl1pPr>
              <a:defRPr sz="3600"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3" name="Text Placeholder 2" descr="Subtitle Block for Transition Slide white"/>
          <p:cNvSpPr>
            <a:spLocks noGrp="1"/>
          </p:cNvSpPr>
          <p:nvPr>
            <p:ph type="body" idx="1"/>
          </p:nvPr>
        </p:nvSpPr>
        <p:spPr>
          <a:xfrm>
            <a:off x="885974" y="3425318"/>
            <a:ext cx="9185679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9A8E06-4903-074D-BC96-9CD19F5B47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326920" y="3884062"/>
            <a:ext cx="1553993" cy="417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120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9" name="Picture 8" descr="A picture containing text, sign, suit&#10;&#10;Description automatically generated">
            <a:extLst>
              <a:ext uri="{FF2B5EF4-FFF2-40B4-BE49-F238E27FC236}">
                <a16:creationId xmlns:a16="http://schemas.microsoft.com/office/drawing/2014/main" id="{A4AAD765-4B7C-CE47-BAE5-FD78A48FC8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0727" y="276203"/>
            <a:ext cx="6284947" cy="63061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9E5CC3A-6D1C-C944-923C-71CCB828D9B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 descr="Title Block for Transition Slide with Photo #1">
            <a:extLst>
              <a:ext uri="{FF2B5EF4-FFF2-40B4-BE49-F238E27FC236}">
                <a16:creationId xmlns:a16="http://schemas.microsoft.com/office/drawing/2014/main" id="{43527350-0DA8-4B4C-974B-2185197298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3" name="Text Placeholder 2" descr="Subtitle Block for Transition Slide with Photo #1">
            <a:extLst>
              <a:ext uri="{FF2B5EF4-FFF2-40B4-BE49-F238E27FC236}">
                <a16:creationId xmlns:a16="http://schemas.microsoft.com/office/drawing/2014/main" id="{89DF1376-BA2A-DA4E-A1B1-DCEFBA5BF7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13848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F12C74-AB2F-4CFB-BFAA-20C3A325B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420954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34" imgW="306" imgH="306" progId="TCLayout.ActiveDocument.1">
                  <p:embed/>
                </p:oleObj>
              </mc:Choice>
              <mc:Fallback>
                <p:oleObj name="think-cell Slide" r:id="rId3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F12C74-AB2F-4CFB-BFAA-20C3A325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92B98E-190B-40F3-808A-1B89C606445C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B3B38B-BBAD-CB4F-B082-D6F36EBDF9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F1B53D-38F5-0E4D-9B1B-7F47F0BA25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3 Cotiviti, Inc. All rights reserved. All proprietary information shall remain the sole and exclusive property of Cotiviti, Inc.</a:t>
            </a:r>
            <a:endParaRPr lang="en-US" sz="100" kern="120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2" name="Title Placeholder 1" descr="Slide title"/>
          <p:cNvSpPr>
            <a:spLocks noGrp="1"/>
          </p:cNvSpPr>
          <p:nvPr>
            <p:ph type="title"/>
          </p:nvPr>
        </p:nvSpPr>
        <p:spPr>
          <a:xfrm>
            <a:off x="457200" y="365124"/>
            <a:ext cx="11274552" cy="78076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 descr="Slide main content area"/>
          <p:cNvSpPr>
            <a:spLocks noGrp="1"/>
          </p:cNvSpPr>
          <p:nvPr>
            <p:ph type="body" idx="1"/>
          </p:nvPr>
        </p:nvSpPr>
        <p:spPr>
          <a:xfrm>
            <a:off x="457200" y="1284789"/>
            <a:ext cx="11274552" cy="489204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tion Header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1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2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3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4</a:t>
            </a:r>
          </a:p>
        </p:txBody>
      </p:sp>
      <p:sp>
        <p:nvSpPr>
          <p:cNvPr id="6" name="Slide Number Placeholder 5" descr="Page Number"/>
          <p:cNvSpPr>
            <a:spLocks noGrp="1"/>
          </p:cNvSpPr>
          <p:nvPr>
            <p:ph type="sldNum" sz="quarter" idx="4"/>
          </p:nvPr>
        </p:nvSpPr>
        <p:spPr>
          <a:xfrm>
            <a:off x="11249892" y="6517079"/>
            <a:ext cx="484909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4D04F-9C36-E944-AC9F-1D33DA1514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826" b="29092"/>
          <a:stretch/>
        </p:blipFill>
        <p:spPr>
          <a:xfrm>
            <a:off x="291455" y="6517079"/>
            <a:ext cx="16256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49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03" r:id="rId2"/>
    <p:sldLayoutId id="2147483730" r:id="rId3"/>
    <p:sldLayoutId id="2147483731" r:id="rId4"/>
    <p:sldLayoutId id="2147483732" r:id="rId5"/>
    <p:sldLayoutId id="2147483705" r:id="rId6"/>
    <p:sldLayoutId id="2147483706" r:id="rId7"/>
    <p:sldLayoutId id="2147483707" r:id="rId8"/>
    <p:sldLayoutId id="2147483738" r:id="rId9"/>
    <p:sldLayoutId id="2147483739" r:id="rId10"/>
    <p:sldLayoutId id="2147483740" r:id="rId11"/>
    <p:sldLayoutId id="2147483675" r:id="rId12"/>
    <p:sldLayoutId id="2147483742" r:id="rId13"/>
    <p:sldLayoutId id="2147483679" r:id="rId14"/>
    <p:sldLayoutId id="2147483680" r:id="rId15"/>
    <p:sldLayoutId id="2147483681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11" r:id="rId22"/>
    <p:sldLayoutId id="2147483712" r:id="rId23"/>
    <p:sldLayoutId id="2147483743" r:id="rId24"/>
    <p:sldLayoutId id="2147483741" r:id="rId25"/>
    <p:sldLayoutId id="2147483727" r:id="rId26"/>
    <p:sldLayoutId id="2147483750" r:id="rId27"/>
    <p:sldLayoutId id="2147483749" r:id="rId28"/>
    <p:sldLayoutId id="2147483728" r:id="rId29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5750" marR="0" indent="-285750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300"/>
        </a:spcAft>
        <a:buClrTx/>
        <a:buSzTx/>
        <a:buFont typeface="Arial" panose="020B0604020202020204" pitchFamily="34" charset="0"/>
        <a:buChar char="•"/>
        <a:tabLst/>
        <a:defRPr lang="en-US" sz="1800" kern="1200" baseline="0" noProof="0" dirty="0" smtClean="0">
          <a:solidFill>
            <a:schemeClr val="accent1"/>
          </a:solidFill>
          <a:latin typeface="+mj-lt"/>
          <a:ea typeface="+mn-ea"/>
          <a:cs typeface="+mn-cs"/>
        </a:defRPr>
      </a:lvl1pPr>
      <a:lvl2pPr marL="5127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413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Courier New" panose="02070309020205020404" pitchFamily="49" charset="0"/>
        <a:buChar char="o"/>
        <a:tabLst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334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Arial" panose="020B0604020202020204" pitchFamily="34" charset="0"/>
        <a:buChar char="•"/>
        <a:tabLst/>
        <a:defRPr lang="en-US" sz="12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6038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Montserrat" panose="00000500000000000000" pitchFamily="2" charset="0"/>
        <a:buChar char="–"/>
        <a:tabLst/>
        <a:defRPr lang="en-US" sz="1500" kern="1200" noProof="0" dirty="0">
          <a:solidFill>
            <a:schemeClr val="accent2"/>
          </a:solidFill>
          <a:latin typeface="+mn-lt"/>
          <a:ea typeface="+mn-ea"/>
          <a:cs typeface="+mn-cs"/>
        </a:defRPr>
      </a:lvl5pPr>
      <a:lvl6pPr marL="1490663" marR="0" indent="-173038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9.png"/><Relationship Id="rId7" Type="http://schemas.openxmlformats.org/officeDocument/2006/relationships/image" Target="../media/image1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9.png"/><Relationship Id="rId7" Type="http://schemas.openxmlformats.org/officeDocument/2006/relationships/image" Target="../media/image1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bitbucket.cotiviti.com/projects/OAI/repos/cob-subrogation/browse?at=refs%2Fheads%2Fdevelop" TargetMode="External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3 TextBox" descr="All Objects">
            <a:extLst>
              <a:ext uri="{FF2B5EF4-FFF2-40B4-BE49-F238E27FC236}">
                <a16:creationId xmlns:a16="http://schemas.microsoft.com/office/drawing/2014/main" id="{62C081F5-6189-964B-A1BC-421E7C8AB695}"/>
              </a:ext>
            </a:extLst>
          </p:cNvPr>
          <p:cNvSpPr txBox="1"/>
          <p:nvPr/>
        </p:nvSpPr>
        <p:spPr>
          <a:xfrm>
            <a:off x="458725" y="4376689"/>
            <a:ext cx="1436915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t>02/06/2023</a:t>
            </a:r>
          </a:p>
        </p:txBody>
      </p:sp>
      <p:sp>
        <p:nvSpPr>
          <p:cNvPr id="5" name="2 Subtitle" descr="All Objects">
            <a:extLst>
              <a:ext uri="{FF2B5EF4-FFF2-40B4-BE49-F238E27FC236}">
                <a16:creationId xmlns:a16="http://schemas.microsoft.com/office/drawing/2014/main" id="{B193CA41-5CA8-CA40-984E-887A6D2EED7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Prepared by : Rutvi Mistry (Rutvi.Mistry@cotiviti.com)</a:t>
            </a:r>
          </a:p>
        </p:txBody>
      </p:sp>
      <p:sp>
        <p:nvSpPr>
          <p:cNvPr id="4" name="1 Title" descr="All Objects">
            <a:extLst>
              <a:ext uri="{FF2B5EF4-FFF2-40B4-BE49-F238E27FC236}">
                <a16:creationId xmlns:a16="http://schemas.microsoft.com/office/drawing/2014/main" id="{9DD3ACF4-CFCC-0C4F-897D-C01B057376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8725" y="2295728"/>
            <a:ext cx="10039942" cy="1253627"/>
          </a:xfrm>
        </p:spPr>
        <p:txBody>
          <a:bodyPr/>
          <a:lstStyle/>
          <a:p>
            <a:r>
              <a:rPr lang="en-US"/>
              <a:t>On-Prem COB Subrogation and TPL end to end workflow</a:t>
            </a:r>
          </a:p>
        </p:txBody>
      </p:sp>
    </p:spTree>
    <p:extLst>
      <p:ext uri="{BB962C8B-B14F-4D97-AF65-F5344CB8AC3E}">
        <p14:creationId xmlns:p14="http://schemas.microsoft.com/office/powerpoint/2010/main" val="7794539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 descr="page number">
            <a:extLst>
              <a:ext uri="{FF2B5EF4-FFF2-40B4-BE49-F238E27FC236}">
                <a16:creationId xmlns:a16="http://schemas.microsoft.com/office/drawing/2014/main" id="{8722D2DD-E452-B748-83F2-82685792F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6" name="Text Placeholder" descr="Content Block">
            <a:extLst>
              <a:ext uri="{FF2B5EF4-FFF2-40B4-BE49-F238E27FC236}">
                <a16:creationId xmlns:a16="http://schemas.microsoft.com/office/drawing/2014/main" id="{4166A99B-5D31-B248-B1FF-A9B0DDF8EE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940958"/>
            <a:ext cx="11277600" cy="4894265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br>
              <a:rPr lang="en-US"/>
            </a:br>
            <a:endParaRPr lang="en-US"/>
          </a:p>
          <a:p>
            <a:pPr lvl="1"/>
            <a:r>
              <a:rPr lang="en-US"/>
              <a:t>                          Oozie for workflow scheduling </a:t>
            </a:r>
            <a:br>
              <a:rPr lang="en-US"/>
            </a:br>
            <a:endParaRPr lang="en-US"/>
          </a:p>
          <a:p>
            <a:pPr lvl="1"/>
            <a:endParaRPr lang="en-US"/>
          </a:p>
          <a:p>
            <a:pPr lvl="1"/>
            <a:r>
              <a:rPr lang="en-US"/>
              <a:t>                          Sqoop for big data transfer</a:t>
            </a:r>
          </a:p>
          <a:p>
            <a:pPr marL="0" indent="0">
              <a:buNone/>
            </a:pPr>
            <a:endParaRPr lang="en-US"/>
          </a:p>
          <a:p>
            <a:pPr lvl="1"/>
            <a:r>
              <a:rPr lang="en-US"/>
              <a:t>                          Kafka for triggering events </a:t>
            </a:r>
          </a:p>
          <a:p>
            <a:pPr marL="0" indent="0">
              <a:buNone/>
            </a:pPr>
            <a:endParaRPr lang="en-US"/>
          </a:p>
          <a:p>
            <a:pPr lvl="1"/>
            <a:r>
              <a:rPr lang="en-US"/>
              <a:t>                          Scala for transformation</a:t>
            </a:r>
          </a:p>
          <a:p>
            <a:pPr marL="0" indent="0">
              <a:buNone/>
            </a:pPr>
            <a:endParaRPr lang="en-US"/>
          </a:p>
          <a:p>
            <a:pPr lvl="1"/>
            <a:r>
              <a:rPr lang="en-US"/>
              <a:t>                           Spark for data engineering and manipulation</a:t>
            </a:r>
          </a:p>
          <a:p>
            <a:pPr marL="284163" lvl="1" indent="0">
              <a:buNone/>
            </a:pPr>
            <a:br>
              <a:rPr lang="en-US"/>
            </a:br>
            <a:endParaRPr lang="en-US"/>
          </a:p>
          <a:p>
            <a:pPr lvl="1"/>
            <a:r>
              <a:rPr lang="en-US"/>
              <a:t>                            </a:t>
            </a:r>
            <a:r>
              <a:rPr lang="en-US" err="1"/>
              <a:t>DataRobot</a:t>
            </a:r>
            <a:r>
              <a:rPr lang="en-US"/>
              <a:t> for data science and data modeling</a:t>
            </a:r>
          </a:p>
          <a:p>
            <a:pPr marL="284163" lvl="1" indent="0">
              <a:buNone/>
            </a:pPr>
            <a:br>
              <a:rPr lang="en-US"/>
            </a:br>
            <a:endParaRPr lang="en-US"/>
          </a:p>
          <a:p>
            <a:pPr lvl="1"/>
            <a:r>
              <a:rPr lang="en-US"/>
              <a:t>                             Hadoop for HDFS file storage</a:t>
            </a:r>
          </a:p>
        </p:txBody>
      </p:sp>
      <p:sp>
        <p:nvSpPr>
          <p:cNvPr id="2" name="Title 1" descr="Title Block">
            <a:extLst>
              <a:ext uri="{FF2B5EF4-FFF2-40B4-BE49-F238E27FC236}">
                <a16:creationId xmlns:a16="http://schemas.microsoft.com/office/drawing/2014/main" id="{92C31FC9-049D-9F44-98B9-9EBAF070BB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chnologies used	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5390D83-CBBC-8C94-CE65-67E7590A92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5247" y="2013966"/>
            <a:ext cx="1003079" cy="34147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9346D8B-7234-84F9-CF2C-1B8FA48D44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9406" y="1432907"/>
            <a:ext cx="1048920" cy="35809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B534EC1-4C70-CE15-7463-8CD13AC6BE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6998" y="2663555"/>
            <a:ext cx="787894" cy="39316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1CBF67-D53A-9207-033C-738A3046B3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9899" y="3321610"/>
            <a:ext cx="953774" cy="36920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3F82327-F119-9877-3271-12B566DBCF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9406" y="3896192"/>
            <a:ext cx="918713" cy="38393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0620948-F542-57AD-28F6-B865635EF6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0594" y="4580507"/>
            <a:ext cx="1003079" cy="45491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6486E90-0B59-0759-F30B-524CEAC705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0593" y="5312552"/>
            <a:ext cx="1003079" cy="393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3428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0221DD9-78DF-8F4A-BF84-129420FFB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73AAD64-B892-224A-B88F-619EDAEDF4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956177"/>
            <a:ext cx="11274551" cy="5220787"/>
          </a:xfrm>
        </p:spPr>
        <p:txBody>
          <a:bodyPr/>
          <a:lstStyle/>
          <a:p>
            <a:pPr lvl="1"/>
            <a:r>
              <a:rPr lang="en-US"/>
              <a:t>The incoming oozie pipeline is scheduled using oozie workflow events/ crontab that runs four times per day at 9am, 12pm, 4pm and 7pm</a:t>
            </a:r>
          </a:p>
          <a:p>
            <a:pPr lvl="1"/>
            <a:r>
              <a:rPr lang="en-US"/>
              <a:t>At the start of the pipeline, it looks for member name with SCSTATUS in ‘PENDNG’ state on </a:t>
            </a:r>
            <a:r>
              <a:rPr lang="en-US" err="1"/>
              <a:t>postgres</a:t>
            </a:r>
            <a:r>
              <a:rPr lang="en-US"/>
              <a:t> server for IRIS database</a:t>
            </a:r>
          </a:p>
          <a:p>
            <a:pPr lvl="1"/>
            <a:r>
              <a:rPr lang="en-US"/>
              <a:t>Once it finds member name is in PENDNG state, we grab 4 tables from client database(Member Key) from SQL Server and merge those tables into one.</a:t>
            </a:r>
          </a:p>
          <a:p>
            <a:pPr lvl="1"/>
            <a:r>
              <a:rPr lang="en-US"/>
              <a:t>We run our outgoing pipeline and push results back to SQL Server in database [OPID_CLIENT_N]  and table [</a:t>
            </a:r>
            <a:r>
              <a:rPr lang="en-US" err="1"/>
              <a:t>dbo</a:t>
            </a:r>
            <a:r>
              <a:rPr lang="en-US"/>
              <a:t>].[TPL_SCORE_STAGING] for business us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3EBD3B0-112A-024F-A1B9-87B4D9F09A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5125"/>
            <a:ext cx="11274552" cy="373116"/>
          </a:xfrm>
        </p:spPr>
        <p:txBody>
          <a:bodyPr/>
          <a:lstStyle/>
          <a:p>
            <a:r>
              <a:rPr lang="en-US"/>
              <a:t>TPL Accent System flow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FD10E5-5809-2139-0089-395DDB6135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9172" y="3154722"/>
            <a:ext cx="5910606" cy="310857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FC0F0DE-C0C3-6E13-D907-2D9BCE3C3F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530" y="3154722"/>
            <a:ext cx="2180261" cy="296503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F668205-2AFF-B754-66D5-289474B336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45298" y="3110845"/>
            <a:ext cx="2418293" cy="3747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6792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1CD2A4-485D-72C3-6832-07EC378F27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625" y="244579"/>
            <a:ext cx="11274552" cy="780769"/>
          </a:xfrm>
        </p:spPr>
        <p:txBody>
          <a:bodyPr/>
          <a:lstStyle/>
          <a:p>
            <a:r>
              <a:rPr lang="en-US" sz="2400"/>
              <a:t>On-Prem TPL End-to-end Workflo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6EF6F4-E90C-A398-73D4-99F558EDE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z="800" smtClean="0"/>
              <a:t>4</a:t>
            </a:fld>
            <a:endParaRPr lang="en-US" sz="800"/>
          </a:p>
        </p:txBody>
      </p:sp>
      <p:sp>
        <p:nvSpPr>
          <p:cNvPr id="6" name="Circle: Hollow 72" descr="All Decorative">
            <a:extLst>
              <a:ext uri="{FF2B5EF4-FFF2-40B4-BE49-F238E27FC236}">
                <a16:creationId xmlns:a16="http://schemas.microsoft.com/office/drawing/2014/main" id="{11E11CFB-8CBD-DE6A-88C5-2F6048DBB21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804535" y="2494627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7" name="Circle: Hollow 124" descr="All Decorative">
            <a:extLst>
              <a:ext uri="{FF2B5EF4-FFF2-40B4-BE49-F238E27FC236}">
                <a16:creationId xmlns:a16="http://schemas.microsoft.com/office/drawing/2014/main" id="{DFB489B0-C41C-9CEB-4D6E-6FAD82E7D4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2529955" y="2481855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8" name="Circle: Hollow 127" descr="All Decorative">
            <a:extLst>
              <a:ext uri="{FF2B5EF4-FFF2-40B4-BE49-F238E27FC236}">
                <a16:creationId xmlns:a16="http://schemas.microsoft.com/office/drawing/2014/main" id="{6AEE2125-1301-1D59-5E2B-27D508AABD6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252471" y="2481855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9" name="Circle: Hollow 130" descr="All Decorative">
            <a:extLst>
              <a:ext uri="{FF2B5EF4-FFF2-40B4-BE49-F238E27FC236}">
                <a16:creationId xmlns:a16="http://schemas.microsoft.com/office/drawing/2014/main" id="{D430E67E-EB7C-B729-E18D-F2C25E96CA3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7317345" y="2481855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10" name="Circle: Hollow 133" descr="All Decorative">
            <a:extLst>
              <a:ext uri="{FF2B5EF4-FFF2-40B4-BE49-F238E27FC236}">
                <a16:creationId xmlns:a16="http://schemas.microsoft.com/office/drawing/2014/main" id="{19D2F1A0-1A69-1587-00BE-03FCD16F0F8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9142065" y="2488913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cxnSp>
        <p:nvCxnSpPr>
          <p:cNvPr id="11" name="Straight Connector 10" descr="All Decorative">
            <a:extLst>
              <a:ext uri="{FF2B5EF4-FFF2-40B4-BE49-F238E27FC236}">
                <a16:creationId xmlns:a16="http://schemas.microsoft.com/office/drawing/2014/main" id="{2D30A1C5-A798-E966-BA3E-F75D87039D0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/>
        </p:nvCxnSpPr>
        <p:spPr>
          <a:xfrm>
            <a:off x="1182497" y="2615183"/>
            <a:ext cx="1197047" cy="0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 descr="All Decorative">
            <a:extLst>
              <a:ext uri="{FF2B5EF4-FFF2-40B4-BE49-F238E27FC236}">
                <a16:creationId xmlns:a16="http://schemas.microsoft.com/office/drawing/2014/main" id="{726B533E-E672-1C2E-16A7-E6D52403327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/>
        </p:nvCxnSpPr>
        <p:spPr>
          <a:xfrm>
            <a:off x="2931140" y="2615183"/>
            <a:ext cx="1197047" cy="0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 descr="All Decorative">
            <a:extLst>
              <a:ext uri="{FF2B5EF4-FFF2-40B4-BE49-F238E27FC236}">
                <a16:creationId xmlns:a16="http://schemas.microsoft.com/office/drawing/2014/main" id="{3CA68E26-08D3-591D-16EA-D2F02E82039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/>
        </p:nvCxnSpPr>
        <p:spPr>
          <a:xfrm>
            <a:off x="7714936" y="2615183"/>
            <a:ext cx="1197047" cy="0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 descr="All Decorative">
            <a:extLst>
              <a:ext uri="{FF2B5EF4-FFF2-40B4-BE49-F238E27FC236}">
                <a16:creationId xmlns:a16="http://schemas.microsoft.com/office/drawing/2014/main" id="{3E647972-D0FF-9CF6-9266-EBBE35E0373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/>
        </p:nvCxnSpPr>
        <p:spPr>
          <a:xfrm>
            <a:off x="9651360" y="2596657"/>
            <a:ext cx="1012939" cy="0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 descr="All Decorative">
            <a:extLst>
              <a:ext uri="{FF2B5EF4-FFF2-40B4-BE49-F238E27FC236}">
                <a16:creationId xmlns:a16="http://schemas.microsoft.com/office/drawing/2014/main" id="{96D1E3DC-3E26-4485-897B-B8870E826BB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55177" y="2072359"/>
            <a:ext cx="1651970" cy="5078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100" b="1">
                <a:solidFill>
                  <a:schemeClr val="accent1"/>
                </a:solidFill>
              </a:rPr>
              <a:t>Check IRIS Database </a:t>
            </a:r>
            <a:r>
              <a:rPr lang="en-US" sz="1100" b="1">
                <a:solidFill>
                  <a:schemeClr val="accent1"/>
                </a:solidFill>
                <a:latin typeface="Montserrat (Body)"/>
              </a:rPr>
              <a:t>scorupdt00</a:t>
            </a:r>
          </a:p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TextBox 16" descr="All Decorative">
            <a:extLst>
              <a:ext uri="{FF2B5EF4-FFF2-40B4-BE49-F238E27FC236}">
                <a16:creationId xmlns:a16="http://schemas.microsoft.com/office/drawing/2014/main" id="{9DF6567A-1535-0F62-78F1-DC0C808026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2007212" y="2029821"/>
            <a:ext cx="1384300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100" b="1">
                <a:solidFill>
                  <a:schemeClr val="accent1"/>
                </a:solidFill>
              </a:rPr>
              <a:t>Start incoming oozie pipeline</a:t>
            </a:r>
            <a:endParaRPr lang="en-US" sz="11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" name="TextBox 17" descr="All Decorative">
            <a:extLst>
              <a:ext uri="{FF2B5EF4-FFF2-40B4-BE49-F238E27FC236}">
                <a16:creationId xmlns:a16="http://schemas.microsoft.com/office/drawing/2014/main" id="{88BD854A-1A13-48C9-F7E0-DBE0034C84D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3708522" y="1988348"/>
            <a:ext cx="1384300" cy="5078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100" b="1">
                <a:solidFill>
                  <a:schemeClr val="accent1"/>
                </a:solidFill>
              </a:rPr>
              <a:t>Push all pending clients' files to a folder</a:t>
            </a:r>
            <a:endParaRPr lang="en-US" sz="11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TextBox 19" descr="All Decorative">
            <a:extLst>
              <a:ext uri="{FF2B5EF4-FFF2-40B4-BE49-F238E27FC236}">
                <a16:creationId xmlns:a16="http://schemas.microsoft.com/office/drawing/2014/main" id="{19D2ADCB-99D2-E7E1-793A-B6EAC2CF8F0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6873390" y="2035112"/>
            <a:ext cx="1489241" cy="31547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000" b="1">
                <a:solidFill>
                  <a:schemeClr val="accent1"/>
                </a:solidFill>
              </a:rPr>
              <a:t> Pre-</a:t>
            </a:r>
            <a:r>
              <a:rPr lang="en-US" sz="1050" b="1">
                <a:solidFill>
                  <a:schemeClr val="accent1"/>
                </a:solidFill>
              </a:rPr>
              <a:t>Transformation</a:t>
            </a:r>
            <a:r>
              <a:rPr lang="en-US" sz="1000" b="1">
                <a:solidFill>
                  <a:schemeClr val="accent1"/>
                </a:solidFill>
              </a:rPr>
              <a:t> on all pending clients</a:t>
            </a:r>
          </a:p>
        </p:txBody>
      </p:sp>
      <p:sp>
        <p:nvSpPr>
          <p:cNvPr id="22" name="TextBox 21" descr="All Decorative">
            <a:extLst>
              <a:ext uri="{FF2B5EF4-FFF2-40B4-BE49-F238E27FC236}">
                <a16:creationId xmlns:a16="http://schemas.microsoft.com/office/drawing/2014/main" id="{77A5C61A-D485-318A-60A0-E8006AC4ABA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257533" y="2813264"/>
            <a:ext cx="1447259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Check for any client is in </a:t>
            </a:r>
            <a:r>
              <a:rPr lang="en-US" sz="900" err="1"/>
              <a:t>pendng</a:t>
            </a:r>
            <a:r>
              <a:rPr lang="en-US" sz="900"/>
              <a:t> status</a:t>
            </a:r>
          </a:p>
        </p:txBody>
      </p:sp>
      <p:sp>
        <p:nvSpPr>
          <p:cNvPr id="24" name="TextBox 23" descr="All Decorative">
            <a:extLst>
              <a:ext uri="{FF2B5EF4-FFF2-40B4-BE49-F238E27FC236}">
                <a16:creationId xmlns:a16="http://schemas.microsoft.com/office/drawing/2014/main" id="{50EE7600-604D-82C1-8705-64D3CB4D603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974821" y="3146516"/>
            <a:ext cx="1447259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This gets data from individual client database from SQL server and merge all 4 tables into one for transformation </a:t>
            </a:r>
          </a:p>
        </p:txBody>
      </p:sp>
      <p:sp>
        <p:nvSpPr>
          <p:cNvPr id="26" name="TextBox 25" descr="All Decorative">
            <a:extLst>
              <a:ext uri="{FF2B5EF4-FFF2-40B4-BE49-F238E27FC236}">
                <a16:creationId xmlns:a16="http://schemas.microsoft.com/office/drawing/2014/main" id="{FEC444F3-0270-A7E3-FBB8-00A68D8C156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3593163" y="2758015"/>
            <a:ext cx="1447259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for all pending clients it push data in one folder consisting one file per client</a:t>
            </a:r>
          </a:p>
        </p:txBody>
      </p:sp>
      <p:sp>
        <p:nvSpPr>
          <p:cNvPr id="28" name="TextBox 27" descr="All Decorative">
            <a:extLst>
              <a:ext uri="{FF2B5EF4-FFF2-40B4-BE49-F238E27FC236}">
                <a16:creationId xmlns:a16="http://schemas.microsoft.com/office/drawing/2014/main" id="{91036F58-549B-289B-E1BB-04CCB5D5DB7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6857392" y="3517928"/>
            <a:ext cx="1447259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Consumes all pending client files from </a:t>
            </a:r>
            <a:r>
              <a:rPr lang="en-US" sz="900" b="1"/>
              <a:t>one</a:t>
            </a:r>
            <a:r>
              <a:rPr lang="en-US" sz="900"/>
              <a:t> </a:t>
            </a:r>
            <a:r>
              <a:rPr lang="en-US" sz="900" err="1"/>
              <a:t>hdfs</a:t>
            </a:r>
            <a:r>
              <a:rPr lang="en-US" sz="900"/>
              <a:t> folder and runs transformation on files present in </a:t>
            </a:r>
            <a:r>
              <a:rPr lang="en-US" sz="900" err="1"/>
              <a:t>hdfs</a:t>
            </a:r>
            <a:r>
              <a:rPr lang="en-US" sz="900"/>
              <a:t> folder location</a:t>
            </a:r>
          </a:p>
        </p:txBody>
      </p:sp>
      <p:sp>
        <p:nvSpPr>
          <p:cNvPr id="30" name="TextBox 29" descr="All Decorative">
            <a:extLst>
              <a:ext uri="{FF2B5EF4-FFF2-40B4-BE49-F238E27FC236}">
                <a16:creationId xmlns:a16="http://schemas.microsoft.com/office/drawing/2014/main" id="{771267E2-E8F9-ECF4-8F3A-62EA0B1DF69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8700694" y="3278643"/>
            <a:ext cx="1447259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Runs model to score all pending client files</a:t>
            </a:r>
          </a:p>
        </p:txBody>
      </p:sp>
      <p:sp>
        <p:nvSpPr>
          <p:cNvPr id="31" name="Circle: Hollow 133" descr="All Decorative">
            <a:extLst>
              <a:ext uri="{FF2B5EF4-FFF2-40B4-BE49-F238E27FC236}">
                <a16:creationId xmlns:a16="http://schemas.microsoft.com/office/drawing/2014/main" id="{AFDDFB6C-C6FE-DAB4-1E7D-E656C66A16D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10865198" y="2481855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32" name="TextBox 31" descr="All Decorative">
            <a:extLst>
              <a:ext uri="{FF2B5EF4-FFF2-40B4-BE49-F238E27FC236}">
                <a16:creationId xmlns:a16="http://schemas.microsoft.com/office/drawing/2014/main" id="{F444C753-3D77-1362-D7FD-928EFD75C8F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9039210" y="2171562"/>
            <a:ext cx="1384300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100" b="1">
                <a:solidFill>
                  <a:schemeClr val="accent1"/>
                </a:solidFill>
              </a:rPr>
              <a:t>Scoring </a:t>
            </a:r>
          </a:p>
        </p:txBody>
      </p:sp>
      <p:sp>
        <p:nvSpPr>
          <p:cNvPr id="34" name="TextBox 33" descr="All Decorative">
            <a:extLst>
              <a:ext uri="{FF2B5EF4-FFF2-40B4-BE49-F238E27FC236}">
                <a16:creationId xmlns:a16="http://schemas.microsoft.com/office/drawing/2014/main" id="{BD9631CC-2E2C-7CCF-74BC-E5926C18FCD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297516" y="3475245"/>
            <a:ext cx="1447259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Run post transformation on scored results</a:t>
            </a:r>
          </a:p>
        </p:txBody>
      </p:sp>
      <p:sp>
        <p:nvSpPr>
          <p:cNvPr id="35" name="TextBox 34" descr="All Decorative">
            <a:extLst>
              <a:ext uri="{FF2B5EF4-FFF2-40B4-BE49-F238E27FC236}">
                <a16:creationId xmlns:a16="http://schemas.microsoft.com/office/drawing/2014/main" id="{D2DCD38F-ED0A-2537-8281-516FE53F216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927259" y="1361512"/>
            <a:ext cx="1328635" cy="53552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Triggers everyday at 9 am, 12 pm,</a:t>
            </a:r>
          </a:p>
          <a:p>
            <a:pPr algn="ctr"/>
            <a:r>
              <a:rPr lang="en-US" sz="900"/>
              <a:t> 4 pm and 7 pm 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0FEA6D13-477D-3DF3-AEEC-BFCC803BAB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166" y="879316"/>
            <a:ext cx="486705" cy="443119"/>
          </a:xfrm>
          <a:prstGeom prst="rect">
            <a:avLst/>
          </a:prstGeom>
        </p:spPr>
      </p:pic>
      <p:cxnSp>
        <p:nvCxnSpPr>
          <p:cNvPr id="38" name="Straight Connector 37" descr="All Decorative">
            <a:extLst>
              <a:ext uri="{FF2B5EF4-FFF2-40B4-BE49-F238E27FC236}">
                <a16:creationId xmlns:a16="http://schemas.microsoft.com/office/drawing/2014/main" id="{209CFBFA-08DC-34F1-BFE6-AF03E878A31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/>
        </p:nvCxnSpPr>
        <p:spPr>
          <a:xfrm>
            <a:off x="927259" y="1322435"/>
            <a:ext cx="0" cy="658765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 descr="All Decorative">
            <a:extLst>
              <a:ext uri="{FF2B5EF4-FFF2-40B4-BE49-F238E27FC236}">
                <a16:creationId xmlns:a16="http://schemas.microsoft.com/office/drawing/2014/main" id="{E0B9EA0B-EC0E-27BA-F0A8-C675DC33166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/>
        </p:nvCxnSpPr>
        <p:spPr>
          <a:xfrm>
            <a:off x="901882" y="3281815"/>
            <a:ext cx="0" cy="596765"/>
          </a:xfrm>
          <a:prstGeom prst="line">
            <a:avLst/>
          </a:prstGeom>
          <a:ln w="25400">
            <a:solidFill>
              <a:srgbClr val="CACAC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ircle: Hollow 72" descr="All Decorative">
            <a:extLst>
              <a:ext uri="{FF2B5EF4-FFF2-40B4-BE49-F238E27FC236}">
                <a16:creationId xmlns:a16="http://schemas.microsoft.com/office/drawing/2014/main" id="{9C553CDB-7B61-439B-F7D7-5B36EC3FE1F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773522" y="4187489"/>
            <a:ext cx="263966" cy="263966"/>
          </a:xfrm>
          <a:prstGeom prst="donut">
            <a:avLst/>
          </a:prstGeom>
          <a:solidFill>
            <a:srgbClr val="CACAC8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44" name="TextBox 43" descr="All Decorative">
            <a:extLst>
              <a:ext uri="{FF2B5EF4-FFF2-40B4-BE49-F238E27FC236}">
                <a16:creationId xmlns:a16="http://schemas.microsoft.com/office/drawing/2014/main" id="{1D3082F4-C36C-7880-53BF-BEC002D61BF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209732" y="3953705"/>
            <a:ext cx="1384300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900" b="1">
                <a:solidFill>
                  <a:schemeClr val="accent1"/>
                </a:solidFill>
              </a:rPr>
              <a:t>Stop Execution</a:t>
            </a:r>
            <a:endParaRPr lang="en-US" sz="9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8F7594F6-72B3-196E-697B-530F854AD9BB}"/>
              </a:ext>
            </a:extLst>
          </p:cNvPr>
          <p:cNvSpPr/>
          <p:nvPr/>
        </p:nvSpPr>
        <p:spPr>
          <a:xfrm>
            <a:off x="54596" y="694415"/>
            <a:ext cx="6460357" cy="6163586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48" name="Rectangle 47" descr="All Decorative">
            <a:extLst>
              <a:ext uri="{FF2B5EF4-FFF2-40B4-BE49-F238E27FC236}">
                <a16:creationId xmlns:a16="http://schemas.microsoft.com/office/drawing/2014/main" id="{0A9E4050-5383-8DF5-B902-599C577E2A2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994560" y="3620712"/>
            <a:ext cx="1447259" cy="443180"/>
          </a:xfrm>
          <a:prstGeom prst="rect">
            <a:avLst/>
          </a:prstGeom>
        </p:spPr>
        <p:txBody>
          <a:bodyPr wrap="square" lIns="68562" tIns="34281" rIns="68562" bIns="34281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900" kern="3000" spc="22">
                <a:solidFill>
                  <a:schemeClr val="accent1"/>
                </a:solidFill>
                <a:cs typeface="Arial" panose="020B0604020202020204" pitchFamily="34" charset="0"/>
              </a:rPr>
              <a:t>Send Kafka Trigger for Transformation and Scoring</a:t>
            </a:r>
          </a:p>
        </p:txBody>
      </p:sp>
      <p:cxnSp>
        <p:nvCxnSpPr>
          <p:cNvPr id="49" name="Straight Connector 48" descr="All Decorative">
            <a:extLst>
              <a:ext uri="{FF2B5EF4-FFF2-40B4-BE49-F238E27FC236}">
                <a16:creationId xmlns:a16="http://schemas.microsoft.com/office/drawing/2014/main" id="{69EA8D8C-2C79-C108-4D85-8E32BDA384F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  <a:endCxn id="53" idx="1"/>
          </p:cNvCxnSpPr>
          <p:nvPr/>
        </p:nvCxnSpPr>
        <p:spPr>
          <a:xfrm flipV="1">
            <a:off x="4642882" y="2051744"/>
            <a:ext cx="949447" cy="562094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Flowchart: Multidocument 52">
            <a:extLst>
              <a:ext uri="{FF2B5EF4-FFF2-40B4-BE49-F238E27FC236}">
                <a16:creationId xmlns:a16="http://schemas.microsoft.com/office/drawing/2014/main" id="{FBA1F0F0-8A36-244B-82E1-E266B7F0733F}"/>
              </a:ext>
            </a:extLst>
          </p:cNvPr>
          <p:cNvSpPr/>
          <p:nvPr/>
        </p:nvSpPr>
        <p:spPr>
          <a:xfrm>
            <a:off x="5592329" y="1783980"/>
            <a:ext cx="499743" cy="535528"/>
          </a:xfrm>
          <a:prstGeom prst="flowChartMultidocumen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accent3"/>
                </a:solidFill>
              </a:ln>
            </a:endParaRPr>
          </a:p>
        </p:txBody>
      </p:sp>
      <p:sp>
        <p:nvSpPr>
          <p:cNvPr id="54" name="TextBox 53" descr="All Decorative">
            <a:extLst>
              <a:ext uri="{FF2B5EF4-FFF2-40B4-BE49-F238E27FC236}">
                <a16:creationId xmlns:a16="http://schemas.microsoft.com/office/drawing/2014/main" id="{B8F133ED-D158-30D1-EB03-9CB50922D0C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5046239" y="1268492"/>
            <a:ext cx="1447259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Creates all pending clients' files in </a:t>
            </a:r>
            <a:r>
              <a:rPr lang="en-US" sz="900" b="1"/>
              <a:t>one</a:t>
            </a:r>
            <a:r>
              <a:rPr lang="en-US" sz="900"/>
              <a:t> </a:t>
            </a:r>
            <a:r>
              <a:rPr lang="en-US" sz="900" err="1"/>
              <a:t>hdfs</a:t>
            </a:r>
            <a:r>
              <a:rPr lang="en-US" sz="900"/>
              <a:t> folder location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9D738CEF-50D0-6E7E-3083-2C07AEA5B2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5995" y="3180773"/>
            <a:ext cx="787894" cy="393164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8B648DDB-CA53-E6C1-737C-E275757B50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19718" y="2809285"/>
            <a:ext cx="886282" cy="283876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83B711F9-519F-3975-F064-6BA3C0831B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28926" y="2805201"/>
            <a:ext cx="787895" cy="454916"/>
          </a:xfrm>
          <a:prstGeom prst="rect">
            <a:avLst/>
          </a:prstGeom>
        </p:spPr>
      </p:pic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8BC29654-CB7A-881E-0591-A09ACAE73241}"/>
              </a:ext>
            </a:extLst>
          </p:cNvPr>
          <p:cNvSpPr/>
          <p:nvPr/>
        </p:nvSpPr>
        <p:spPr>
          <a:xfrm>
            <a:off x="6557482" y="824369"/>
            <a:ext cx="5547893" cy="6033629"/>
          </a:xfrm>
          <a:prstGeom prst="roundRect">
            <a:avLst/>
          </a:prstGeom>
          <a:noFill/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E620F030-C1D9-658B-C554-F88F9C7E11A2}"/>
              </a:ext>
            </a:extLst>
          </p:cNvPr>
          <p:cNvSpPr/>
          <p:nvPr/>
        </p:nvSpPr>
        <p:spPr>
          <a:xfrm>
            <a:off x="6799545" y="1206496"/>
            <a:ext cx="1622911" cy="3762125"/>
          </a:xfrm>
          <a:prstGeom prst="round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766C39E9-E40C-9D9E-22F7-1125807D3D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64298" y="2769418"/>
            <a:ext cx="814047" cy="314682"/>
          </a:xfrm>
          <a:prstGeom prst="rect">
            <a:avLst/>
          </a:prstGeom>
        </p:spPr>
      </p:pic>
      <p:sp>
        <p:nvSpPr>
          <p:cNvPr id="74" name="TextBox 73" descr="All Decorative">
            <a:extLst>
              <a:ext uri="{FF2B5EF4-FFF2-40B4-BE49-F238E27FC236}">
                <a16:creationId xmlns:a16="http://schemas.microsoft.com/office/drawing/2014/main" id="{79C3EDE5-DA05-8C8A-FD8F-4CBEF432FE7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269425" y="2080324"/>
            <a:ext cx="1489241" cy="31547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000" b="1">
                <a:solidFill>
                  <a:schemeClr val="accent1"/>
                </a:solidFill>
              </a:rPr>
              <a:t> Post-</a:t>
            </a:r>
            <a:r>
              <a:rPr lang="en-US" sz="1050" b="1">
                <a:solidFill>
                  <a:schemeClr val="accent1"/>
                </a:solidFill>
              </a:rPr>
              <a:t>Transformation</a:t>
            </a:r>
            <a:r>
              <a:rPr lang="en-US" sz="1000" b="1">
                <a:solidFill>
                  <a:schemeClr val="accent1"/>
                </a:solidFill>
              </a:rPr>
              <a:t> on all pending clients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2D8ED777-B041-A6F7-63F9-09D11AE55C29}"/>
              </a:ext>
            </a:extLst>
          </p:cNvPr>
          <p:cNvSpPr/>
          <p:nvPr/>
        </p:nvSpPr>
        <p:spPr>
          <a:xfrm>
            <a:off x="10266519" y="1176613"/>
            <a:ext cx="1622911" cy="3762125"/>
          </a:xfrm>
          <a:prstGeom prst="round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F3CFDB64-D6E0-B3C2-1EC9-2B8BB5AECE4B}"/>
              </a:ext>
            </a:extLst>
          </p:cNvPr>
          <p:cNvSpPr/>
          <p:nvPr/>
        </p:nvSpPr>
        <p:spPr>
          <a:xfrm>
            <a:off x="8525042" y="1165439"/>
            <a:ext cx="1622911" cy="3762125"/>
          </a:xfrm>
          <a:prstGeom prst="round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cxnSp>
        <p:nvCxnSpPr>
          <p:cNvPr id="77" name="Straight Connector 76" descr="All Decorative">
            <a:extLst>
              <a:ext uri="{FF2B5EF4-FFF2-40B4-BE49-F238E27FC236}">
                <a16:creationId xmlns:a16="http://schemas.microsoft.com/office/drawing/2014/main" id="{4DFA8A24-5D22-1C82-CCE9-7647E19509A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/>
        </p:nvCxnSpPr>
        <p:spPr>
          <a:xfrm flipH="1">
            <a:off x="10808283" y="4022954"/>
            <a:ext cx="7744" cy="1432808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Flowchart: Document 80">
            <a:extLst>
              <a:ext uri="{FF2B5EF4-FFF2-40B4-BE49-F238E27FC236}">
                <a16:creationId xmlns:a16="http://schemas.microsoft.com/office/drawing/2014/main" id="{138C5D71-B944-F81A-C6C0-4FE1BBAB0757}"/>
              </a:ext>
            </a:extLst>
          </p:cNvPr>
          <p:cNvSpPr/>
          <p:nvPr/>
        </p:nvSpPr>
        <p:spPr>
          <a:xfrm>
            <a:off x="10568980" y="5500318"/>
            <a:ext cx="560184" cy="505416"/>
          </a:xfrm>
          <a:prstGeom prst="flowChartDocumen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8B70D4A3-ACAF-3432-D086-741DB678A4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93938" y="5784882"/>
            <a:ext cx="787894" cy="393164"/>
          </a:xfrm>
          <a:prstGeom prst="rect">
            <a:avLst/>
          </a:prstGeom>
        </p:spPr>
      </p:pic>
      <p:cxnSp>
        <p:nvCxnSpPr>
          <p:cNvPr id="83" name="Straight Connector 82" descr="All Decorative">
            <a:extLst>
              <a:ext uri="{FF2B5EF4-FFF2-40B4-BE49-F238E27FC236}">
                <a16:creationId xmlns:a16="http://schemas.microsoft.com/office/drawing/2014/main" id="{55C733A3-D96B-7DDC-B963-59210C5F1DB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  <a:stCxn id="160" idx="2"/>
          </p:cNvCxnSpPr>
          <p:nvPr/>
        </p:nvCxnSpPr>
        <p:spPr>
          <a:xfrm flipH="1" flipV="1">
            <a:off x="5718189" y="5652891"/>
            <a:ext cx="2217631" cy="24084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 descr="All Decorative">
            <a:extLst>
              <a:ext uri="{FF2B5EF4-FFF2-40B4-BE49-F238E27FC236}">
                <a16:creationId xmlns:a16="http://schemas.microsoft.com/office/drawing/2014/main" id="{BD8537EC-EA1D-B048-6E21-156025E9B5A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7286423" y="6184956"/>
            <a:ext cx="1447259" cy="318531"/>
          </a:xfrm>
          <a:prstGeom prst="rect">
            <a:avLst/>
          </a:prstGeom>
          <a:solidFill>
            <a:schemeClr val="bg1"/>
          </a:solidFill>
        </p:spPr>
        <p:txBody>
          <a:bodyPr wrap="square" lIns="68562" tIns="34281" rIns="68562" bIns="34281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900" kern="3000" spc="22">
                <a:solidFill>
                  <a:schemeClr val="accent1"/>
                </a:solidFill>
                <a:cs typeface="Arial" panose="020B0604020202020204" pitchFamily="34" charset="0"/>
              </a:rPr>
              <a:t>Send Kafka Trigger for Outgoing pipeline</a:t>
            </a:r>
          </a:p>
        </p:txBody>
      </p:sp>
      <p:sp>
        <p:nvSpPr>
          <p:cNvPr id="87" name="TextBox 86" descr="All Decorative">
            <a:extLst>
              <a:ext uri="{FF2B5EF4-FFF2-40B4-BE49-F238E27FC236}">
                <a16:creationId xmlns:a16="http://schemas.microsoft.com/office/drawing/2014/main" id="{3725C1A9-E5AA-7FBE-11DA-258624F791E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842464" y="4877138"/>
            <a:ext cx="1262911" cy="4800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Creates decile score file for all clients merged in one</a:t>
            </a:r>
          </a:p>
        </p:txBody>
      </p:sp>
      <p:cxnSp>
        <p:nvCxnSpPr>
          <p:cNvPr id="92" name="Straight Connector 91" descr="All Decorative">
            <a:extLst>
              <a:ext uri="{FF2B5EF4-FFF2-40B4-BE49-F238E27FC236}">
                <a16:creationId xmlns:a16="http://schemas.microsoft.com/office/drawing/2014/main" id="{33DF4768-6AC6-63AD-1476-B339576423B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  <a:endCxn id="160" idx="6"/>
          </p:cNvCxnSpPr>
          <p:nvPr/>
        </p:nvCxnSpPr>
        <p:spPr>
          <a:xfrm flipH="1" flipV="1">
            <a:off x="8199786" y="5676975"/>
            <a:ext cx="2356750" cy="26493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Circle: Hollow 130" descr="All Decorative">
            <a:extLst>
              <a:ext uri="{FF2B5EF4-FFF2-40B4-BE49-F238E27FC236}">
                <a16:creationId xmlns:a16="http://schemas.microsoft.com/office/drawing/2014/main" id="{D23DCDE6-71C2-0E50-38D0-A91B03149FD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5401401" y="5541820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99" name="TextBox 98" descr="All Decorative">
            <a:extLst>
              <a:ext uri="{FF2B5EF4-FFF2-40B4-BE49-F238E27FC236}">
                <a16:creationId xmlns:a16="http://schemas.microsoft.com/office/drawing/2014/main" id="{2975A3C1-3786-A6FF-46B6-C3B0153277D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4831902" y="4870872"/>
            <a:ext cx="1384300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100" b="1">
                <a:solidFill>
                  <a:schemeClr val="accent1"/>
                </a:solidFill>
              </a:rPr>
              <a:t>Start outgoing oozie pipeline</a:t>
            </a:r>
            <a:endParaRPr lang="en-US" sz="11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0" name="TextBox 99" descr="All Decorative">
            <a:extLst>
              <a:ext uri="{FF2B5EF4-FFF2-40B4-BE49-F238E27FC236}">
                <a16:creationId xmlns:a16="http://schemas.microsoft.com/office/drawing/2014/main" id="{8CAF7C2F-C938-CC10-534B-E5B88389532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4461874" y="5849009"/>
            <a:ext cx="1920677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Grab a final score file and send score to SQL server database and send trigger for SSIS package </a:t>
            </a:r>
          </a:p>
        </p:txBody>
      </p:sp>
      <p:sp>
        <p:nvSpPr>
          <p:cNvPr id="101" name="TextBox 100" descr="All Decorative">
            <a:extLst>
              <a:ext uri="{FF2B5EF4-FFF2-40B4-BE49-F238E27FC236}">
                <a16:creationId xmlns:a16="http://schemas.microsoft.com/office/drawing/2014/main" id="{FD5172CE-AE51-F578-9C60-86F6924D346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252815" y="6030302"/>
            <a:ext cx="1338831" cy="4412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US" sz="900" b="1"/>
              <a:t>Merge of all client scores in one file</a:t>
            </a:r>
          </a:p>
        </p:txBody>
      </p:sp>
      <p:cxnSp>
        <p:nvCxnSpPr>
          <p:cNvPr id="105" name="Straight Connector 104" descr="All Decorative">
            <a:extLst>
              <a:ext uri="{FF2B5EF4-FFF2-40B4-BE49-F238E27FC236}">
                <a16:creationId xmlns:a16="http://schemas.microsoft.com/office/drawing/2014/main" id="{7A167039-9400-4E97-F679-50780B1CF6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/>
        </p:nvCxnSpPr>
        <p:spPr>
          <a:xfrm flipH="1">
            <a:off x="3258349" y="5683053"/>
            <a:ext cx="2126651" cy="0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 descr="All Decorative">
            <a:extLst>
              <a:ext uri="{FF2B5EF4-FFF2-40B4-BE49-F238E27FC236}">
                <a16:creationId xmlns:a16="http://schemas.microsoft.com/office/drawing/2014/main" id="{59C045CB-A1A0-739A-84B4-04E0512D5B2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  <a:stCxn id="109" idx="2"/>
          </p:cNvCxnSpPr>
          <p:nvPr/>
        </p:nvCxnSpPr>
        <p:spPr>
          <a:xfrm flipH="1" flipV="1">
            <a:off x="1381321" y="5608724"/>
            <a:ext cx="1419848" cy="1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ylinder 108">
            <a:extLst>
              <a:ext uri="{FF2B5EF4-FFF2-40B4-BE49-F238E27FC236}">
                <a16:creationId xmlns:a16="http://schemas.microsoft.com/office/drawing/2014/main" id="{D8C67EE8-986E-982A-4EEB-B6AA8F8E57BC}"/>
              </a:ext>
            </a:extLst>
          </p:cNvPr>
          <p:cNvSpPr/>
          <p:nvPr/>
        </p:nvSpPr>
        <p:spPr>
          <a:xfrm>
            <a:off x="2801169" y="5221651"/>
            <a:ext cx="460722" cy="774147"/>
          </a:xfrm>
          <a:prstGeom prst="can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TextBox 110" descr="All Decorative">
            <a:extLst>
              <a:ext uri="{FF2B5EF4-FFF2-40B4-BE49-F238E27FC236}">
                <a16:creationId xmlns:a16="http://schemas.microsoft.com/office/drawing/2014/main" id="{DDBF841A-B3B2-E292-FAE3-B6BA73A80C3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3142085" y="5230384"/>
            <a:ext cx="1920677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700"/>
              <a:t>Updates SQL Server Database OPID_CLIENT_N and table [</a:t>
            </a:r>
            <a:r>
              <a:rPr lang="en-US" sz="700" err="1"/>
              <a:t>dbo</a:t>
            </a:r>
            <a:r>
              <a:rPr lang="en-US" sz="700"/>
              <a:t>].[TPL_SCORE_STAGING]</a:t>
            </a:r>
          </a:p>
        </p:txBody>
      </p:sp>
      <p:sp>
        <p:nvSpPr>
          <p:cNvPr id="112" name="TextBox 111" descr="All Decorative">
            <a:extLst>
              <a:ext uri="{FF2B5EF4-FFF2-40B4-BE49-F238E27FC236}">
                <a16:creationId xmlns:a16="http://schemas.microsoft.com/office/drawing/2014/main" id="{421CC814-EFEF-467B-D5E8-78B49563E0C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24315" y="5857441"/>
            <a:ext cx="1920677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Send file as </a:t>
            </a:r>
            <a:br>
              <a:rPr lang="en-US" sz="900"/>
            </a:br>
            <a:r>
              <a:rPr lang="en-US" sz="900"/>
              <a:t>trigger to SSIS Package</a:t>
            </a:r>
          </a:p>
        </p:txBody>
      </p:sp>
      <p:pic>
        <p:nvPicPr>
          <p:cNvPr id="115" name="Picture 114">
            <a:extLst>
              <a:ext uri="{FF2B5EF4-FFF2-40B4-BE49-F238E27FC236}">
                <a16:creationId xmlns:a16="http://schemas.microsoft.com/office/drawing/2014/main" id="{F6EEC8ED-86FE-2F64-6BC9-C1A6176DBC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246" y="5459617"/>
            <a:ext cx="488314" cy="480084"/>
          </a:xfrm>
          <a:prstGeom prst="rect">
            <a:avLst/>
          </a:prstGeom>
        </p:spPr>
      </p:pic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AAA7CEBA-3C98-4C0A-543C-F6CEABA39363}"/>
              </a:ext>
            </a:extLst>
          </p:cNvPr>
          <p:cNvSpPr/>
          <p:nvPr/>
        </p:nvSpPr>
        <p:spPr>
          <a:xfrm>
            <a:off x="10086845" y="127542"/>
            <a:ext cx="489527" cy="71414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: Rounded Corners 116">
            <a:extLst>
              <a:ext uri="{FF2B5EF4-FFF2-40B4-BE49-F238E27FC236}">
                <a16:creationId xmlns:a16="http://schemas.microsoft.com/office/drawing/2014/main" id="{EF629265-A57A-8570-5EA4-212BB4AC2AF8}"/>
              </a:ext>
            </a:extLst>
          </p:cNvPr>
          <p:cNvSpPr/>
          <p:nvPr/>
        </p:nvSpPr>
        <p:spPr>
          <a:xfrm>
            <a:off x="296930" y="5144831"/>
            <a:ext cx="989234" cy="1004837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118" name="Rectangle: Rounded Corners 117">
            <a:extLst>
              <a:ext uri="{FF2B5EF4-FFF2-40B4-BE49-F238E27FC236}">
                <a16:creationId xmlns:a16="http://schemas.microsoft.com/office/drawing/2014/main" id="{56D65BBD-DC2D-D9C5-09B4-56608FCE7292}"/>
              </a:ext>
            </a:extLst>
          </p:cNvPr>
          <p:cNvSpPr/>
          <p:nvPr/>
        </p:nvSpPr>
        <p:spPr>
          <a:xfrm>
            <a:off x="10086845" y="268739"/>
            <a:ext cx="489527" cy="71414"/>
          </a:xfrm>
          <a:prstGeom prst="roundRect">
            <a:avLst/>
          </a:prstGeom>
          <a:solidFill>
            <a:schemeClr val="bg1"/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54C4B900-DC1B-38EE-48F7-3D594A589108}"/>
              </a:ext>
            </a:extLst>
          </p:cNvPr>
          <p:cNvSpPr/>
          <p:nvPr/>
        </p:nvSpPr>
        <p:spPr>
          <a:xfrm>
            <a:off x="10086845" y="412966"/>
            <a:ext cx="489527" cy="75418"/>
          </a:xfrm>
          <a:prstGeom prst="roundRect">
            <a:avLst/>
          </a:prstGeom>
          <a:solidFill>
            <a:schemeClr val="bg1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C46576F1-EFA0-F210-BAB3-A353799892C2}"/>
              </a:ext>
            </a:extLst>
          </p:cNvPr>
          <p:cNvSpPr/>
          <p:nvPr/>
        </p:nvSpPr>
        <p:spPr>
          <a:xfrm>
            <a:off x="10086844" y="555820"/>
            <a:ext cx="489527" cy="71414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24846F2C-F7D5-1197-261B-1E4D5C873717}"/>
              </a:ext>
            </a:extLst>
          </p:cNvPr>
          <p:cNvSpPr/>
          <p:nvPr/>
        </p:nvSpPr>
        <p:spPr>
          <a:xfrm>
            <a:off x="10086845" y="690178"/>
            <a:ext cx="489527" cy="71414"/>
          </a:xfrm>
          <a:prstGeom prst="round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580A3715-4330-B3A7-B0B8-5DED5C2BC003}"/>
              </a:ext>
            </a:extLst>
          </p:cNvPr>
          <p:cNvSpPr txBox="1"/>
          <p:nvPr/>
        </p:nvSpPr>
        <p:spPr>
          <a:xfrm>
            <a:off x="10553833" y="61101"/>
            <a:ext cx="914400" cy="1705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800"/>
              <a:t>Data Integration team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4DF38D6D-5748-5FAF-F418-BFA9C89B8092}"/>
              </a:ext>
            </a:extLst>
          </p:cNvPr>
          <p:cNvSpPr txBox="1"/>
          <p:nvPr/>
        </p:nvSpPr>
        <p:spPr>
          <a:xfrm>
            <a:off x="10563946" y="184798"/>
            <a:ext cx="914400" cy="1705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800" err="1"/>
              <a:t>MLOps</a:t>
            </a:r>
            <a:r>
              <a:rPr lang="en-US" sz="800"/>
              <a:t> Team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E900089E-60AA-4800-155A-85E11331EF65}"/>
              </a:ext>
            </a:extLst>
          </p:cNvPr>
          <p:cNvSpPr txBox="1"/>
          <p:nvPr/>
        </p:nvSpPr>
        <p:spPr>
          <a:xfrm>
            <a:off x="10553833" y="340669"/>
            <a:ext cx="914400" cy="1705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800"/>
              <a:t>Feature Library Team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A0A6E29-DF02-875C-C4D5-37D0D95638A1}"/>
              </a:ext>
            </a:extLst>
          </p:cNvPr>
          <p:cNvSpPr txBox="1"/>
          <p:nvPr/>
        </p:nvSpPr>
        <p:spPr>
          <a:xfrm>
            <a:off x="10553833" y="482921"/>
            <a:ext cx="914400" cy="1705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800"/>
              <a:t>Data Scientist Team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E29AFE1A-126A-610C-1692-DC9518833670}"/>
              </a:ext>
            </a:extLst>
          </p:cNvPr>
          <p:cNvSpPr txBox="1"/>
          <p:nvPr/>
        </p:nvSpPr>
        <p:spPr>
          <a:xfrm>
            <a:off x="10571905" y="614722"/>
            <a:ext cx="914400" cy="1705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800"/>
              <a:t>HMS SSIS Team</a:t>
            </a:r>
          </a:p>
        </p:txBody>
      </p:sp>
      <p:pic>
        <p:nvPicPr>
          <p:cNvPr id="131" name="Picture 130">
            <a:extLst>
              <a:ext uri="{FF2B5EF4-FFF2-40B4-BE49-F238E27FC236}">
                <a16:creationId xmlns:a16="http://schemas.microsoft.com/office/drawing/2014/main" id="{6C411343-0F2D-5E59-789A-D3BEC235D1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73988" y="761592"/>
            <a:ext cx="1048920" cy="358094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01B7CBCD-0ACD-7CBE-0F80-94DD2118B5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50906" y="842767"/>
            <a:ext cx="1048920" cy="319217"/>
          </a:xfrm>
          <a:prstGeom prst="rect">
            <a:avLst/>
          </a:prstGeom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53D96635-6FBF-3551-F35C-132A741E3BB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96910" y="2766872"/>
            <a:ext cx="1003079" cy="341473"/>
          </a:xfrm>
          <a:prstGeom prst="rect">
            <a:avLst/>
          </a:prstGeom>
        </p:spPr>
      </p:pic>
      <p:pic>
        <p:nvPicPr>
          <p:cNvPr id="137" name="Picture 136">
            <a:extLst>
              <a:ext uri="{FF2B5EF4-FFF2-40B4-BE49-F238E27FC236}">
                <a16:creationId xmlns:a16="http://schemas.microsoft.com/office/drawing/2014/main" id="{C560E62F-B09E-1C3B-5026-73D2F2554D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15584" y="5228402"/>
            <a:ext cx="927650" cy="270196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4C7A70E7-098E-350C-A57D-04601258158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88864" y="953192"/>
            <a:ext cx="803208" cy="295365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B2C7530D-ECC5-EFEB-9534-997B39D432A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35688" y="6354062"/>
            <a:ext cx="803208" cy="295365"/>
          </a:xfrm>
          <a:prstGeom prst="rect">
            <a:avLst/>
          </a:prstGeom>
        </p:spPr>
      </p:pic>
      <p:cxnSp>
        <p:nvCxnSpPr>
          <p:cNvPr id="149" name="Straight Connector 148" descr="All Decorative">
            <a:extLst>
              <a:ext uri="{FF2B5EF4-FFF2-40B4-BE49-F238E27FC236}">
                <a16:creationId xmlns:a16="http://schemas.microsoft.com/office/drawing/2014/main" id="{18F1EF61-822A-740A-F22A-4BAB64C92D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  <a:stCxn id="53" idx="2"/>
            <a:endCxn id="157" idx="0"/>
          </p:cNvCxnSpPr>
          <p:nvPr/>
        </p:nvCxnSpPr>
        <p:spPr>
          <a:xfrm flipH="1">
            <a:off x="5806456" y="2299227"/>
            <a:ext cx="994" cy="569719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 descr="All Decorative">
            <a:extLst>
              <a:ext uri="{FF2B5EF4-FFF2-40B4-BE49-F238E27FC236}">
                <a16:creationId xmlns:a16="http://schemas.microsoft.com/office/drawing/2014/main" id="{E982B2EF-0379-BA3F-F61C-8CBC4F0D526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/>
        </p:nvCxnSpPr>
        <p:spPr>
          <a:xfrm>
            <a:off x="5938439" y="2968438"/>
            <a:ext cx="839216" cy="0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Circle: Hollow 127" descr="All Decorative">
            <a:extLst>
              <a:ext uri="{FF2B5EF4-FFF2-40B4-BE49-F238E27FC236}">
                <a16:creationId xmlns:a16="http://schemas.microsoft.com/office/drawing/2014/main" id="{5D321778-9130-483A-83C0-5E6E80A5302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5674473" y="2868946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160" name="Circle: Hollow 127" descr="All Decorative">
            <a:extLst>
              <a:ext uri="{FF2B5EF4-FFF2-40B4-BE49-F238E27FC236}">
                <a16:creationId xmlns:a16="http://schemas.microsoft.com/office/drawing/2014/main" id="{90069A0F-2B56-3353-36F1-1BE2D3058D1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7935820" y="5544992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pic>
        <p:nvPicPr>
          <p:cNvPr id="172" name="Picture 171">
            <a:extLst>
              <a:ext uri="{FF2B5EF4-FFF2-40B4-BE49-F238E27FC236}">
                <a16:creationId xmlns:a16="http://schemas.microsoft.com/office/drawing/2014/main" id="{B06E4853-4E31-961C-D362-9ADC4EEE43D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75979" y="3099103"/>
            <a:ext cx="746698" cy="316732"/>
          </a:xfrm>
          <a:prstGeom prst="rect">
            <a:avLst/>
          </a:prstGeom>
        </p:spPr>
      </p:pic>
      <p:pic>
        <p:nvPicPr>
          <p:cNvPr id="173" name="Picture 172">
            <a:extLst>
              <a:ext uri="{FF2B5EF4-FFF2-40B4-BE49-F238E27FC236}">
                <a16:creationId xmlns:a16="http://schemas.microsoft.com/office/drawing/2014/main" id="{44CD3E7E-8A39-9330-7214-E8E691DDB48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45914" y="3081671"/>
            <a:ext cx="730238" cy="347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2601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1CD2A4-485D-72C3-6832-07EC378F27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625" y="244579"/>
            <a:ext cx="11274552" cy="780769"/>
          </a:xfrm>
        </p:spPr>
        <p:txBody>
          <a:bodyPr/>
          <a:lstStyle/>
          <a:p>
            <a:r>
              <a:rPr lang="en-US" sz="2400"/>
              <a:t>On-Prem TPL End-to-end Workflow with Data Valid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6EF6F4-E90C-A398-73D4-99F558EDE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z="800" smtClean="0"/>
              <a:t>5</a:t>
            </a:fld>
            <a:endParaRPr lang="en-US" sz="800"/>
          </a:p>
        </p:txBody>
      </p:sp>
      <p:sp>
        <p:nvSpPr>
          <p:cNvPr id="6" name="Circle: Hollow 72" descr="All Decorative">
            <a:extLst>
              <a:ext uri="{FF2B5EF4-FFF2-40B4-BE49-F238E27FC236}">
                <a16:creationId xmlns:a16="http://schemas.microsoft.com/office/drawing/2014/main" id="{11E11CFB-8CBD-DE6A-88C5-2F6048DBB21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804535" y="2494627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7" name="Circle: Hollow 124" descr="All Decorative">
            <a:extLst>
              <a:ext uri="{FF2B5EF4-FFF2-40B4-BE49-F238E27FC236}">
                <a16:creationId xmlns:a16="http://schemas.microsoft.com/office/drawing/2014/main" id="{DFB489B0-C41C-9CEB-4D6E-6FAD82E7D4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2529955" y="2481855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8" name="Circle: Hollow 127" descr="All Decorative">
            <a:extLst>
              <a:ext uri="{FF2B5EF4-FFF2-40B4-BE49-F238E27FC236}">
                <a16:creationId xmlns:a16="http://schemas.microsoft.com/office/drawing/2014/main" id="{6AEE2125-1301-1D59-5E2B-27D508AABD6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252471" y="2481855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9" name="Circle: Hollow 130" descr="All Decorative">
            <a:extLst>
              <a:ext uri="{FF2B5EF4-FFF2-40B4-BE49-F238E27FC236}">
                <a16:creationId xmlns:a16="http://schemas.microsoft.com/office/drawing/2014/main" id="{D430E67E-EB7C-B729-E18D-F2C25E96CA3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7317345" y="2481855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10" name="Circle: Hollow 133" descr="All Decorative">
            <a:extLst>
              <a:ext uri="{FF2B5EF4-FFF2-40B4-BE49-F238E27FC236}">
                <a16:creationId xmlns:a16="http://schemas.microsoft.com/office/drawing/2014/main" id="{19D2F1A0-1A69-1587-00BE-03FCD16F0F8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9142065" y="2488913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cxnSp>
        <p:nvCxnSpPr>
          <p:cNvPr id="11" name="Straight Connector 10" descr="All Decorative">
            <a:extLst>
              <a:ext uri="{FF2B5EF4-FFF2-40B4-BE49-F238E27FC236}">
                <a16:creationId xmlns:a16="http://schemas.microsoft.com/office/drawing/2014/main" id="{2D30A1C5-A798-E966-BA3E-F75D87039D0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/>
        </p:nvCxnSpPr>
        <p:spPr>
          <a:xfrm>
            <a:off x="1182497" y="2615183"/>
            <a:ext cx="1197047" cy="0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 descr="All Decorative">
            <a:extLst>
              <a:ext uri="{FF2B5EF4-FFF2-40B4-BE49-F238E27FC236}">
                <a16:creationId xmlns:a16="http://schemas.microsoft.com/office/drawing/2014/main" id="{726B533E-E672-1C2E-16A7-E6D52403327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/>
        </p:nvCxnSpPr>
        <p:spPr>
          <a:xfrm>
            <a:off x="2931140" y="2615183"/>
            <a:ext cx="1197047" cy="0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 descr="All Decorative">
            <a:extLst>
              <a:ext uri="{FF2B5EF4-FFF2-40B4-BE49-F238E27FC236}">
                <a16:creationId xmlns:a16="http://schemas.microsoft.com/office/drawing/2014/main" id="{3CA68E26-08D3-591D-16EA-D2F02E82039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/>
        </p:nvCxnSpPr>
        <p:spPr>
          <a:xfrm>
            <a:off x="7714936" y="2615183"/>
            <a:ext cx="1197047" cy="0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 descr="All Decorative">
            <a:extLst>
              <a:ext uri="{FF2B5EF4-FFF2-40B4-BE49-F238E27FC236}">
                <a16:creationId xmlns:a16="http://schemas.microsoft.com/office/drawing/2014/main" id="{3E647972-D0FF-9CF6-9266-EBBE35E0373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/>
        </p:nvCxnSpPr>
        <p:spPr>
          <a:xfrm>
            <a:off x="9651360" y="2596657"/>
            <a:ext cx="1012939" cy="0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 descr="All Decorative">
            <a:extLst>
              <a:ext uri="{FF2B5EF4-FFF2-40B4-BE49-F238E27FC236}">
                <a16:creationId xmlns:a16="http://schemas.microsoft.com/office/drawing/2014/main" id="{96D1E3DC-3E26-4485-897B-B8870E826BB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55177" y="2072359"/>
            <a:ext cx="1651970" cy="5078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100" b="1">
                <a:solidFill>
                  <a:schemeClr val="accent1"/>
                </a:solidFill>
              </a:rPr>
              <a:t>Check IRIS Database </a:t>
            </a:r>
            <a:r>
              <a:rPr lang="en-US" sz="1100" b="1">
                <a:solidFill>
                  <a:schemeClr val="accent1"/>
                </a:solidFill>
                <a:latin typeface="Montserrat (Body)"/>
              </a:rPr>
              <a:t>scorupdt00</a:t>
            </a:r>
          </a:p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TextBox 16" descr="All Decorative">
            <a:extLst>
              <a:ext uri="{FF2B5EF4-FFF2-40B4-BE49-F238E27FC236}">
                <a16:creationId xmlns:a16="http://schemas.microsoft.com/office/drawing/2014/main" id="{9DF6567A-1535-0F62-78F1-DC0C808026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2007212" y="2029821"/>
            <a:ext cx="1384300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100" b="1">
                <a:solidFill>
                  <a:schemeClr val="accent1"/>
                </a:solidFill>
              </a:rPr>
              <a:t>Start incoming oozie pipeline</a:t>
            </a:r>
            <a:endParaRPr lang="en-US" sz="11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" name="TextBox 17" descr="All Decorative">
            <a:extLst>
              <a:ext uri="{FF2B5EF4-FFF2-40B4-BE49-F238E27FC236}">
                <a16:creationId xmlns:a16="http://schemas.microsoft.com/office/drawing/2014/main" id="{88BD854A-1A13-48C9-F7E0-DBE0034C84D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3708522" y="1988348"/>
            <a:ext cx="1384300" cy="5078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100" b="1">
                <a:solidFill>
                  <a:schemeClr val="accent1"/>
                </a:solidFill>
              </a:rPr>
              <a:t>Push all pending clients' files to a folder</a:t>
            </a:r>
            <a:endParaRPr lang="en-US" sz="11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TextBox 19" descr="All Decorative">
            <a:extLst>
              <a:ext uri="{FF2B5EF4-FFF2-40B4-BE49-F238E27FC236}">
                <a16:creationId xmlns:a16="http://schemas.microsoft.com/office/drawing/2014/main" id="{19D2ADCB-99D2-E7E1-793A-B6EAC2CF8F0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6873390" y="2035112"/>
            <a:ext cx="1489241" cy="31547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000" b="1">
                <a:solidFill>
                  <a:schemeClr val="accent1"/>
                </a:solidFill>
              </a:rPr>
              <a:t> Pre-</a:t>
            </a:r>
            <a:r>
              <a:rPr lang="en-US" sz="1050" b="1">
                <a:solidFill>
                  <a:schemeClr val="accent1"/>
                </a:solidFill>
              </a:rPr>
              <a:t>Transformation</a:t>
            </a:r>
            <a:r>
              <a:rPr lang="en-US" sz="1000" b="1">
                <a:solidFill>
                  <a:schemeClr val="accent1"/>
                </a:solidFill>
              </a:rPr>
              <a:t> on all pending clients</a:t>
            </a:r>
          </a:p>
        </p:txBody>
      </p:sp>
      <p:sp>
        <p:nvSpPr>
          <p:cNvPr id="22" name="TextBox 21" descr="All Decorative">
            <a:extLst>
              <a:ext uri="{FF2B5EF4-FFF2-40B4-BE49-F238E27FC236}">
                <a16:creationId xmlns:a16="http://schemas.microsoft.com/office/drawing/2014/main" id="{77A5C61A-D485-318A-60A0-E8006AC4ABA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257533" y="2813264"/>
            <a:ext cx="1447259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Check for any client is in </a:t>
            </a:r>
            <a:r>
              <a:rPr lang="en-US" sz="900" err="1"/>
              <a:t>pendng</a:t>
            </a:r>
            <a:r>
              <a:rPr lang="en-US" sz="900"/>
              <a:t> status</a:t>
            </a:r>
          </a:p>
        </p:txBody>
      </p:sp>
      <p:sp>
        <p:nvSpPr>
          <p:cNvPr id="24" name="TextBox 23" descr="All Decorative">
            <a:extLst>
              <a:ext uri="{FF2B5EF4-FFF2-40B4-BE49-F238E27FC236}">
                <a16:creationId xmlns:a16="http://schemas.microsoft.com/office/drawing/2014/main" id="{50EE7600-604D-82C1-8705-64D3CB4D603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974821" y="3146516"/>
            <a:ext cx="1447259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This gets data from individual client database from SQL server and merge all 4 tables into one for transformation </a:t>
            </a:r>
          </a:p>
        </p:txBody>
      </p:sp>
      <p:sp>
        <p:nvSpPr>
          <p:cNvPr id="26" name="TextBox 25" descr="All Decorative">
            <a:extLst>
              <a:ext uri="{FF2B5EF4-FFF2-40B4-BE49-F238E27FC236}">
                <a16:creationId xmlns:a16="http://schemas.microsoft.com/office/drawing/2014/main" id="{FEC444F3-0270-A7E3-FBB8-00A68D8C156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3593163" y="2758015"/>
            <a:ext cx="1447259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for all pending clients it push data in one folder consisting one file per client</a:t>
            </a:r>
          </a:p>
        </p:txBody>
      </p:sp>
      <p:sp>
        <p:nvSpPr>
          <p:cNvPr id="28" name="TextBox 27" descr="All Decorative">
            <a:extLst>
              <a:ext uri="{FF2B5EF4-FFF2-40B4-BE49-F238E27FC236}">
                <a16:creationId xmlns:a16="http://schemas.microsoft.com/office/drawing/2014/main" id="{91036F58-549B-289B-E1BB-04CCB5D5DB7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6857392" y="3517928"/>
            <a:ext cx="1447259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Consumes all pending client files from </a:t>
            </a:r>
            <a:r>
              <a:rPr lang="en-US" sz="900" b="1"/>
              <a:t>one</a:t>
            </a:r>
            <a:r>
              <a:rPr lang="en-US" sz="900"/>
              <a:t> </a:t>
            </a:r>
            <a:r>
              <a:rPr lang="en-US" sz="900" err="1"/>
              <a:t>hdfs</a:t>
            </a:r>
            <a:r>
              <a:rPr lang="en-US" sz="900"/>
              <a:t> folder and runs transformation on files present in </a:t>
            </a:r>
            <a:r>
              <a:rPr lang="en-US" sz="900" err="1"/>
              <a:t>hdfs</a:t>
            </a:r>
            <a:r>
              <a:rPr lang="en-US" sz="900"/>
              <a:t> folder location</a:t>
            </a:r>
          </a:p>
        </p:txBody>
      </p:sp>
      <p:sp>
        <p:nvSpPr>
          <p:cNvPr id="30" name="TextBox 29" descr="All Decorative">
            <a:extLst>
              <a:ext uri="{FF2B5EF4-FFF2-40B4-BE49-F238E27FC236}">
                <a16:creationId xmlns:a16="http://schemas.microsoft.com/office/drawing/2014/main" id="{771267E2-E8F9-ECF4-8F3A-62EA0B1DF69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8700694" y="3278643"/>
            <a:ext cx="1447259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Runs model to score all pending client files</a:t>
            </a:r>
          </a:p>
        </p:txBody>
      </p:sp>
      <p:sp>
        <p:nvSpPr>
          <p:cNvPr id="31" name="Circle: Hollow 133" descr="All Decorative">
            <a:extLst>
              <a:ext uri="{FF2B5EF4-FFF2-40B4-BE49-F238E27FC236}">
                <a16:creationId xmlns:a16="http://schemas.microsoft.com/office/drawing/2014/main" id="{AFDDFB6C-C6FE-DAB4-1E7D-E656C66A16D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10865198" y="2481855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32" name="TextBox 31" descr="All Decorative">
            <a:extLst>
              <a:ext uri="{FF2B5EF4-FFF2-40B4-BE49-F238E27FC236}">
                <a16:creationId xmlns:a16="http://schemas.microsoft.com/office/drawing/2014/main" id="{F444C753-3D77-1362-D7FD-928EFD75C8F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9039210" y="2171562"/>
            <a:ext cx="1384300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100" b="1">
                <a:solidFill>
                  <a:schemeClr val="accent1"/>
                </a:solidFill>
              </a:rPr>
              <a:t>Scoring </a:t>
            </a:r>
          </a:p>
        </p:txBody>
      </p:sp>
      <p:sp>
        <p:nvSpPr>
          <p:cNvPr id="34" name="TextBox 33" descr="All Decorative">
            <a:extLst>
              <a:ext uri="{FF2B5EF4-FFF2-40B4-BE49-F238E27FC236}">
                <a16:creationId xmlns:a16="http://schemas.microsoft.com/office/drawing/2014/main" id="{BD9631CC-2E2C-7CCF-74BC-E5926C18FCD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297516" y="3475245"/>
            <a:ext cx="1447259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Run post transformation on scored results</a:t>
            </a:r>
          </a:p>
        </p:txBody>
      </p:sp>
      <p:sp>
        <p:nvSpPr>
          <p:cNvPr id="35" name="TextBox 34" descr="All Decorative">
            <a:extLst>
              <a:ext uri="{FF2B5EF4-FFF2-40B4-BE49-F238E27FC236}">
                <a16:creationId xmlns:a16="http://schemas.microsoft.com/office/drawing/2014/main" id="{D2DCD38F-ED0A-2537-8281-516FE53F216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927259" y="1361512"/>
            <a:ext cx="1328635" cy="53552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Triggers everyday at 9 am, 12 pm,</a:t>
            </a:r>
          </a:p>
          <a:p>
            <a:pPr algn="ctr"/>
            <a:r>
              <a:rPr lang="en-US" sz="900"/>
              <a:t> 4 pm and 7 pm 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0FEA6D13-477D-3DF3-AEEC-BFCC803BAB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166" y="879316"/>
            <a:ext cx="486705" cy="443119"/>
          </a:xfrm>
          <a:prstGeom prst="rect">
            <a:avLst/>
          </a:prstGeom>
        </p:spPr>
      </p:pic>
      <p:cxnSp>
        <p:nvCxnSpPr>
          <p:cNvPr id="38" name="Straight Connector 37" descr="All Decorative">
            <a:extLst>
              <a:ext uri="{FF2B5EF4-FFF2-40B4-BE49-F238E27FC236}">
                <a16:creationId xmlns:a16="http://schemas.microsoft.com/office/drawing/2014/main" id="{209CFBFA-08DC-34F1-BFE6-AF03E878A31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/>
        </p:nvCxnSpPr>
        <p:spPr>
          <a:xfrm>
            <a:off x="927259" y="1322435"/>
            <a:ext cx="0" cy="658765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 descr="All Decorative">
            <a:extLst>
              <a:ext uri="{FF2B5EF4-FFF2-40B4-BE49-F238E27FC236}">
                <a16:creationId xmlns:a16="http://schemas.microsoft.com/office/drawing/2014/main" id="{E0B9EA0B-EC0E-27BA-F0A8-C675DC33166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/>
        </p:nvCxnSpPr>
        <p:spPr>
          <a:xfrm>
            <a:off x="901882" y="3281815"/>
            <a:ext cx="0" cy="596765"/>
          </a:xfrm>
          <a:prstGeom prst="line">
            <a:avLst/>
          </a:prstGeom>
          <a:ln w="25400">
            <a:solidFill>
              <a:srgbClr val="CACAC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ircle: Hollow 72" descr="All Decorative">
            <a:extLst>
              <a:ext uri="{FF2B5EF4-FFF2-40B4-BE49-F238E27FC236}">
                <a16:creationId xmlns:a16="http://schemas.microsoft.com/office/drawing/2014/main" id="{9C553CDB-7B61-439B-F7D7-5B36EC3FE1F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773522" y="4187489"/>
            <a:ext cx="263966" cy="263966"/>
          </a:xfrm>
          <a:prstGeom prst="donut">
            <a:avLst/>
          </a:prstGeom>
          <a:solidFill>
            <a:srgbClr val="CACAC8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44" name="TextBox 43" descr="All Decorative">
            <a:extLst>
              <a:ext uri="{FF2B5EF4-FFF2-40B4-BE49-F238E27FC236}">
                <a16:creationId xmlns:a16="http://schemas.microsoft.com/office/drawing/2014/main" id="{1D3082F4-C36C-7880-53BF-BEC002D61BF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209732" y="3953705"/>
            <a:ext cx="1384300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900" b="1">
                <a:solidFill>
                  <a:schemeClr val="accent1"/>
                </a:solidFill>
              </a:rPr>
              <a:t>Stop Execution</a:t>
            </a:r>
            <a:endParaRPr lang="en-US" sz="9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8F7594F6-72B3-196E-697B-530F854AD9BB}"/>
              </a:ext>
            </a:extLst>
          </p:cNvPr>
          <p:cNvSpPr/>
          <p:nvPr/>
        </p:nvSpPr>
        <p:spPr>
          <a:xfrm>
            <a:off x="54596" y="694415"/>
            <a:ext cx="6460357" cy="6163586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48" name="Rectangle 47" descr="All Decorative">
            <a:extLst>
              <a:ext uri="{FF2B5EF4-FFF2-40B4-BE49-F238E27FC236}">
                <a16:creationId xmlns:a16="http://schemas.microsoft.com/office/drawing/2014/main" id="{0A9E4050-5383-8DF5-B902-599C577E2A2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994560" y="3620712"/>
            <a:ext cx="1447259" cy="443180"/>
          </a:xfrm>
          <a:prstGeom prst="rect">
            <a:avLst/>
          </a:prstGeom>
        </p:spPr>
        <p:txBody>
          <a:bodyPr wrap="square" lIns="68562" tIns="34281" rIns="68562" bIns="34281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900" kern="3000" spc="22">
                <a:solidFill>
                  <a:schemeClr val="accent1"/>
                </a:solidFill>
                <a:cs typeface="Arial" panose="020B0604020202020204" pitchFamily="34" charset="0"/>
              </a:rPr>
              <a:t>Send Kafka Trigger for Transformation and Scoring</a:t>
            </a:r>
          </a:p>
        </p:txBody>
      </p:sp>
      <p:cxnSp>
        <p:nvCxnSpPr>
          <p:cNvPr id="49" name="Straight Connector 48" descr="All Decorative">
            <a:extLst>
              <a:ext uri="{FF2B5EF4-FFF2-40B4-BE49-F238E27FC236}">
                <a16:creationId xmlns:a16="http://schemas.microsoft.com/office/drawing/2014/main" id="{69EA8D8C-2C79-C108-4D85-8E32BDA384F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  <a:endCxn id="53" idx="1"/>
          </p:cNvCxnSpPr>
          <p:nvPr/>
        </p:nvCxnSpPr>
        <p:spPr>
          <a:xfrm flipV="1">
            <a:off x="4642882" y="2051744"/>
            <a:ext cx="949447" cy="562094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Flowchart: Multidocument 52">
            <a:extLst>
              <a:ext uri="{FF2B5EF4-FFF2-40B4-BE49-F238E27FC236}">
                <a16:creationId xmlns:a16="http://schemas.microsoft.com/office/drawing/2014/main" id="{FBA1F0F0-8A36-244B-82E1-E266B7F0733F}"/>
              </a:ext>
            </a:extLst>
          </p:cNvPr>
          <p:cNvSpPr/>
          <p:nvPr/>
        </p:nvSpPr>
        <p:spPr>
          <a:xfrm>
            <a:off x="5592329" y="1783980"/>
            <a:ext cx="499743" cy="535528"/>
          </a:xfrm>
          <a:prstGeom prst="flowChartMultidocumen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accent3"/>
                </a:solidFill>
              </a:ln>
            </a:endParaRPr>
          </a:p>
        </p:txBody>
      </p:sp>
      <p:sp>
        <p:nvSpPr>
          <p:cNvPr id="54" name="TextBox 53" descr="All Decorative">
            <a:extLst>
              <a:ext uri="{FF2B5EF4-FFF2-40B4-BE49-F238E27FC236}">
                <a16:creationId xmlns:a16="http://schemas.microsoft.com/office/drawing/2014/main" id="{B8F133ED-D158-30D1-EB03-9CB50922D0C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5046239" y="1268492"/>
            <a:ext cx="1447259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Creates all pending clients' files in </a:t>
            </a:r>
            <a:r>
              <a:rPr lang="en-US" sz="900" b="1"/>
              <a:t>one</a:t>
            </a:r>
            <a:r>
              <a:rPr lang="en-US" sz="900"/>
              <a:t> </a:t>
            </a:r>
            <a:r>
              <a:rPr lang="en-US" sz="900" err="1"/>
              <a:t>hdfs</a:t>
            </a:r>
            <a:r>
              <a:rPr lang="en-US" sz="900"/>
              <a:t> folder location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9D738CEF-50D0-6E7E-3083-2C07AEA5B2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5995" y="3180773"/>
            <a:ext cx="787894" cy="393164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8B648DDB-CA53-E6C1-737C-E275757B50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19718" y="2809285"/>
            <a:ext cx="886282" cy="283876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83B711F9-519F-3975-F064-6BA3C0831B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28926" y="2805201"/>
            <a:ext cx="787895" cy="454916"/>
          </a:xfrm>
          <a:prstGeom prst="rect">
            <a:avLst/>
          </a:prstGeom>
        </p:spPr>
      </p:pic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8BC29654-CB7A-881E-0591-A09ACAE73241}"/>
              </a:ext>
            </a:extLst>
          </p:cNvPr>
          <p:cNvSpPr/>
          <p:nvPr/>
        </p:nvSpPr>
        <p:spPr>
          <a:xfrm>
            <a:off x="6557482" y="824369"/>
            <a:ext cx="5547893" cy="6033629"/>
          </a:xfrm>
          <a:prstGeom prst="roundRect">
            <a:avLst/>
          </a:prstGeom>
          <a:noFill/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E620F030-C1D9-658B-C554-F88F9C7E11A2}"/>
              </a:ext>
            </a:extLst>
          </p:cNvPr>
          <p:cNvSpPr/>
          <p:nvPr/>
        </p:nvSpPr>
        <p:spPr>
          <a:xfrm>
            <a:off x="6799545" y="1206496"/>
            <a:ext cx="1622911" cy="3762125"/>
          </a:xfrm>
          <a:prstGeom prst="round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766C39E9-E40C-9D9E-22F7-1125807D3D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64298" y="2769418"/>
            <a:ext cx="814047" cy="314682"/>
          </a:xfrm>
          <a:prstGeom prst="rect">
            <a:avLst/>
          </a:prstGeom>
        </p:spPr>
      </p:pic>
      <p:sp>
        <p:nvSpPr>
          <p:cNvPr id="74" name="TextBox 73" descr="All Decorative">
            <a:extLst>
              <a:ext uri="{FF2B5EF4-FFF2-40B4-BE49-F238E27FC236}">
                <a16:creationId xmlns:a16="http://schemas.microsoft.com/office/drawing/2014/main" id="{79C3EDE5-DA05-8C8A-FD8F-4CBEF432FE7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269425" y="2080324"/>
            <a:ext cx="1489241" cy="31547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000" b="1">
                <a:solidFill>
                  <a:schemeClr val="accent1"/>
                </a:solidFill>
              </a:rPr>
              <a:t> Post-</a:t>
            </a:r>
            <a:r>
              <a:rPr lang="en-US" sz="1050" b="1">
                <a:solidFill>
                  <a:schemeClr val="accent1"/>
                </a:solidFill>
              </a:rPr>
              <a:t>Transformation</a:t>
            </a:r>
            <a:r>
              <a:rPr lang="en-US" sz="1000" b="1">
                <a:solidFill>
                  <a:schemeClr val="accent1"/>
                </a:solidFill>
              </a:rPr>
              <a:t> on all pending clients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2D8ED777-B041-A6F7-63F9-09D11AE55C29}"/>
              </a:ext>
            </a:extLst>
          </p:cNvPr>
          <p:cNvSpPr/>
          <p:nvPr/>
        </p:nvSpPr>
        <p:spPr>
          <a:xfrm>
            <a:off x="10266519" y="1176613"/>
            <a:ext cx="1622911" cy="3762125"/>
          </a:xfrm>
          <a:prstGeom prst="round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F3CFDB64-D6E0-B3C2-1EC9-2B8BB5AECE4B}"/>
              </a:ext>
            </a:extLst>
          </p:cNvPr>
          <p:cNvSpPr/>
          <p:nvPr/>
        </p:nvSpPr>
        <p:spPr>
          <a:xfrm>
            <a:off x="8525042" y="1165439"/>
            <a:ext cx="1622911" cy="3762125"/>
          </a:xfrm>
          <a:prstGeom prst="round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cxnSp>
        <p:nvCxnSpPr>
          <p:cNvPr id="77" name="Straight Connector 76" descr="All Decorative">
            <a:extLst>
              <a:ext uri="{FF2B5EF4-FFF2-40B4-BE49-F238E27FC236}">
                <a16:creationId xmlns:a16="http://schemas.microsoft.com/office/drawing/2014/main" id="{4DFA8A24-5D22-1C82-CCE9-7647E19509A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/>
        </p:nvCxnSpPr>
        <p:spPr>
          <a:xfrm flipH="1">
            <a:off x="10808283" y="4022954"/>
            <a:ext cx="7744" cy="1432808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Flowchart: Document 80">
            <a:extLst>
              <a:ext uri="{FF2B5EF4-FFF2-40B4-BE49-F238E27FC236}">
                <a16:creationId xmlns:a16="http://schemas.microsoft.com/office/drawing/2014/main" id="{138C5D71-B944-F81A-C6C0-4FE1BBAB0757}"/>
              </a:ext>
            </a:extLst>
          </p:cNvPr>
          <p:cNvSpPr/>
          <p:nvPr/>
        </p:nvSpPr>
        <p:spPr>
          <a:xfrm>
            <a:off x="10568980" y="5500318"/>
            <a:ext cx="560184" cy="505416"/>
          </a:xfrm>
          <a:prstGeom prst="flowChartDocumen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8B70D4A3-ACAF-3432-D086-741DB678A4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93938" y="5784882"/>
            <a:ext cx="787894" cy="393164"/>
          </a:xfrm>
          <a:prstGeom prst="rect">
            <a:avLst/>
          </a:prstGeom>
        </p:spPr>
      </p:pic>
      <p:cxnSp>
        <p:nvCxnSpPr>
          <p:cNvPr id="83" name="Straight Connector 82" descr="All Decorative">
            <a:extLst>
              <a:ext uri="{FF2B5EF4-FFF2-40B4-BE49-F238E27FC236}">
                <a16:creationId xmlns:a16="http://schemas.microsoft.com/office/drawing/2014/main" id="{55C733A3-D96B-7DDC-B963-59210C5F1DB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  <a:stCxn id="160" idx="2"/>
          </p:cNvCxnSpPr>
          <p:nvPr/>
        </p:nvCxnSpPr>
        <p:spPr>
          <a:xfrm flipH="1" flipV="1">
            <a:off x="5718189" y="5652891"/>
            <a:ext cx="2217631" cy="24084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 descr="All Decorative">
            <a:extLst>
              <a:ext uri="{FF2B5EF4-FFF2-40B4-BE49-F238E27FC236}">
                <a16:creationId xmlns:a16="http://schemas.microsoft.com/office/drawing/2014/main" id="{BD8537EC-EA1D-B048-6E21-156025E9B5A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7286423" y="6184956"/>
            <a:ext cx="1447259" cy="318531"/>
          </a:xfrm>
          <a:prstGeom prst="rect">
            <a:avLst/>
          </a:prstGeom>
          <a:solidFill>
            <a:schemeClr val="bg1"/>
          </a:solidFill>
        </p:spPr>
        <p:txBody>
          <a:bodyPr wrap="square" lIns="68562" tIns="34281" rIns="68562" bIns="34281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900" kern="3000" spc="22">
                <a:solidFill>
                  <a:schemeClr val="accent1"/>
                </a:solidFill>
                <a:cs typeface="Arial" panose="020B0604020202020204" pitchFamily="34" charset="0"/>
              </a:rPr>
              <a:t>Send Kafka Trigger for Outgoing pipeline</a:t>
            </a:r>
          </a:p>
        </p:txBody>
      </p:sp>
      <p:sp>
        <p:nvSpPr>
          <p:cNvPr id="87" name="TextBox 86" descr="All Decorative">
            <a:extLst>
              <a:ext uri="{FF2B5EF4-FFF2-40B4-BE49-F238E27FC236}">
                <a16:creationId xmlns:a16="http://schemas.microsoft.com/office/drawing/2014/main" id="{3725C1A9-E5AA-7FBE-11DA-258624F791E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842464" y="4877138"/>
            <a:ext cx="1262911" cy="4800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Creates decile score file for all clients merged in one</a:t>
            </a:r>
          </a:p>
        </p:txBody>
      </p:sp>
      <p:cxnSp>
        <p:nvCxnSpPr>
          <p:cNvPr id="92" name="Straight Connector 91" descr="All Decorative">
            <a:extLst>
              <a:ext uri="{FF2B5EF4-FFF2-40B4-BE49-F238E27FC236}">
                <a16:creationId xmlns:a16="http://schemas.microsoft.com/office/drawing/2014/main" id="{33DF4768-6AC6-63AD-1476-B339576423B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  <a:endCxn id="160" idx="6"/>
          </p:cNvCxnSpPr>
          <p:nvPr/>
        </p:nvCxnSpPr>
        <p:spPr>
          <a:xfrm flipH="1" flipV="1">
            <a:off x="8199786" y="5676975"/>
            <a:ext cx="2356750" cy="26493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Circle: Hollow 130" descr="All Decorative">
            <a:extLst>
              <a:ext uri="{FF2B5EF4-FFF2-40B4-BE49-F238E27FC236}">
                <a16:creationId xmlns:a16="http://schemas.microsoft.com/office/drawing/2014/main" id="{D23DCDE6-71C2-0E50-38D0-A91B03149FD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5401401" y="5541820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99" name="TextBox 98" descr="All Decorative">
            <a:extLst>
              <a:ext uri="{FF2B5EF4-FFF2-40B4-BE49-F238E27FC236}">
                <a16:creationId xmlns:a16="http://schemas.microsoft.com/office/drawing/2014/main" id="{2975A3C1-3786-A6FF-46B6-C3B0153277D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4831902" y="4870872"/>
            <a:ext cx="1384300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100" b="1">
                <a:solidFill>
                  <a:schemeClr val="accent1"/>
                </a:solidFill>
              </a:rPr>
              <a:t>Start outgoing oozie pipeline</a:t>
            </a:r>
            <a:endParaRPr lang="en-US" sz="11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0" name="TextBox 99" descr="All Decorative">
            <a:extLst>
              <a:ext uri="{FF2B5EF4-FFF2-40B4-BE49-F238E27FC236}">
                <a16:creationId xmlns:a16="http://schemas.microsoft.com/office/drawing/2014/main" id="{8CAF7C2F-C938-CC10-534B-E5B88389532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4461874" y="5849009"/>
            <a:ext cx="1920677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Grab a final score file and send score to SQL server database and send trigger for SSIS package </a:t>
            </a:r>
          </a:p>
        </p:txBody>
      </p:sp>
      <p:sp>
        <p:nvSpPr>
          <p:cNvPr id="101" name="TextBox 100" descr="All Decorative">
            <a:extLst>
              <a:ext uri="{FF2B5EF4-FFF2-40B4-BE49-F238E27FC236}">
                <a16:creationId xmlns:a16="http://schemas.microsoft.com/office/drawing/2014/main" id="{FD5172CE-AE51-F578-9C60-86F6924D346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252815" y="6030302"/>
            <a:ext cx="1338831" cy="4412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US" sz="900" b="1"/>
              <a:t>Merge of all client scores in one file</a:t>
            </a:r>
          </a:p>
        </p:txBody>
      </p:sp>
      <p:cxnSp>
        <p:nvCxnSpPr>
          <p:cNvPr id="105" name="Straight Connector 104" descr="All Decorative">
            <a:extLst>
              <a:ext uri="{FF2B5EF4-FFF2-40B4-BE49-F238E27FC236}">
                <a16:creationId xmlns:a16="http://schemas.microsoft.com/office/drawing/2014/main" id="{7A167039-9400-4E97-F679-50780B1CF6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/>
        </p:nvCxnSpPr>
        <p:spPr>
          <a:xfrm flipH="1">
            <a:off x="3258349" y="5683053"/>
            <a:ext cx="2126651" cy="0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 descr="All Decorative">
            <a:extLst>
              <a:ext uri="{FF2B5EF4-FFF2-40B4-BE49-F238E27FC236}">
                <a16:creationId xmlns:a16="http://schemas.microsoft.com/office/drawing/2014/main" id="{59C045CB-A1A0-739A-84B4-04E0512D5B2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  <a:stCxn id="109" idx="2"/>
          </p:cNvCxnSpPr>
          <p:nvPr/>
        </p:nvCxnSpPr>
        <p:spPr>
          <a:xfrm flipH="1" flipV="1">
            <a:off x="1381321" y="5608724"/>
            <a:ext cx="1419848" cy="1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ylinder 108">
            <a:extLst>
              <a:ext uri="{FF2B5EF4-FFF2-40B4-BE49-F238E27FC236}">
                <a16:creationId xmlns:a16="http://schemas.microsoft.com/office/drawing/2014/main" id="{D8C67EE8-986E-982A-4EEB-B6AA8F8E57BC}"/>
              </a:ext>
            </a:extLst>
          </p:cNvPr>
          <p:cNvSpPr/>
          <p:nvPr/>
        </p:nvSpPr>
        <p:spPr>
          <a:xfrm>
            <a:off x="2801169" y="5221651"/>
            <a:ext cx="460722" cy="774147"/>
          </a:xfrm>
          <a:prstGeom prst="can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TextBox 110" descr="All Decorative">
            <a:extLst>
              <a:ext uri="{FF2B5EF4-FFF2-40B4-BE49-F238E27FC236}">
                <a16:creationId xmlns:a16="http://schemas.microsoft.com/office/drawing/2014/main" id="{DDBF841A-B3B2-E292-FAE3-B6BA73A80C3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3142085" y="5230384"/>
            <a:ext cx="1920677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700"/>
              <a:t>Updates SQL Server Database OPID_CLIENT_N and table [</a:t>
            </a:r>
            <a:r>
              <a:rPr lang="en-US" sz="700" err="1"/>
              <a:t>dbo</a:t>
            </a:r>
            <a:r>
              <a:rPr lang="en-US" sz="700"/>
              <a:t>].[TPL_SCORE_STAGING]</a:t>
            </a:r>
          </a:p>
        </p:txBody>
      </p:sp>
      <p:sp>
        <p:nvSpPr>
          <p:cNvPr id="112" name="TextBox 111" descr="All Decorative">
            <a:extLst>
              <a:ext uri="{FF2B5EF4-FFF2-40B4-BE49-F238E27FC236}">
                <a16:creationId xmlns:a16="http://schemas.microsoft.com/office/drawing/2014/main" id="{421CC814-EFEF-467B-D5E8-78B49563E0C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24315" y="5857441"/>
            <a:ext cx="1920677" cy="480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900"/>
              <a:t>Send file as </a:t>
            </a:r>
            <a:br>
              <a:rPr lang="en-US" sz="900"/>
            </a:br>
            <a:r>
              <a:rPr lang="en-US" sz="900"/>
              <a:t>trigger to SSIS Package</a:t>
            </a:r>
          </a:p>
        </p:txBody>
      </p:sp>
      <p:pic>
        <p:nvPicPr>
          <p:cNvPr id="115" name="Picture 114">
            <a:extLst>
              <a:ext uri="{FF2B5EF4-FFF2-40B4-BE49-F238E27FC236}">
                <a16:creationId xmlns:a16="http://schemas.microsoft.com/office/drawing/2014/main" id="{F6EEC8ED-86FE-2F64-6BC9-C1A6176DBC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246" y="5459617"/>
            <a:ext cx="488314" cy="480084"/>
          </a:xfrm>
          <a:prstGeom prst="rect">
            <a:avLst/>
          </a:prstGeom>
        </p:spPr>
      </p:pic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AAA7CEBA-3C98-4C0A-543C-F6CEABA39363}"/>
              </a:ext>
            </a:extLst>
          </p:cNvPr>
          <p:cNvSpPr/>
          <p:nvPr/>
        </p:nvSpPr>
        <p:spPr>
          <a:xfrm>
            <a:off x="10086845" y="127542"/>
            <a:ext cx="489527" cy="71414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: Rounded Corners 116">
            <a:extLst>
              <a:ext uri="{FF2B5EF4-FFF2-40B4-BE49-F238E27FC236}">
                <a16:creationId xmlns:a16="http://schemas.microsoft.com/office/drawing/2014/main" id="{EF629265-A57A-8570-5EA4-212BB4AC2AF8}"/>
              </a:ext>
            </a:extLst>
          </p:cNvPr>
          <p:cNvSpPr/>
          <p:nvPr/>
        </p:nvSpPr>
        <p:spPr>
          <a:xfrm>
            <a:off x="296930" y="5144831"/>
            <a:ext cx="989234" cy="1004837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118" name="Rectangle: Rounded Corners 117">
            <a:extLst>
              <a:ext uri="{FF2B5EF4-FFF2-40B4-BE49-F238E27FC236}">
                <a16:creationId xmlns:a16="http://schemas.microsoft.com/office/drawing/2014/main" id="{56D65BBD-DC2D-D9C5-09B4-56608FCE7292}"/>
              </a:ext>
            </a:extLst>
          </p:cNvPr>
          <p:cNvSpPr/>
          <p:nvPr/>
        </p:nvSpPr>
        <p:spPr>
          <a:xfrm>
            <a:off x="10086845" y="268739"/>
            <a:ext cx="489527" cy="71414"/>
          </a:xfrm>
          <a:prstGeom prst="roundRect">
            <a:avLst/>
          </a:prstGeom>
          <a:solidFill>
            <a:schemeClr val="bg1"/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54C4B900-DC1B-38EE-48F7-3D594A589108}"/>
              </a:ext>
            </a:extLst>
          </p:cNvPr>
          <p:cNvSpPr/>
          <p:nvPr/>
        </p:nvSpPr>
        <p:spPr>
          <a:xfrm>
            <a:off x="10086845" y="412966"/>
            <a:ext cx="489527" cy="75418"/>
          </a:xfrm>
          <a:prstGeom prst="roundRect">
            <a:avLst/>
          </a:prstGeom>
          <a:solidFill>
            <a:schemeClr val="bg1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C46576F1-EFA0-F210-BAB3-A353799892C2}"/>
              </a:ext>
            </a:extLst>
          </p:cNvPr>
          <p:cNvSpPr/>
          <p:nvPr/>
        </p:nvSpPr>
        <p:spPr>
          <a:xfrm>
            <a:off x="10086844" y="555820"/>
            <a:ext cx="489527" cy="71414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24846F2C-F7D5-1197-261B-1E4D5C873717}"/>
              </a:ext>
            </a:extLst>
          </p:cNvPr>
          <p:cNvSpPr/>
          <p:nvPr/>
        </p:nvSpPr>
        <p:spPr>
          <a:xfrm>
            <a:off x="10086845" y="690178"/>
            <a:ext cx="489527" cy="71414"/>
          </a:xfrm>
          <a:prstGeom prst="round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580A3715-4330-B3A7-B0B8-5DED5C2BC003}"/>
              </a:ext>
            </a:extLst>
          </p:cNvPr>
          <p:cNvSpPr txBox="1"/>
          <p:nvPr/>
        </p:nvSpPr>
        <p:spPr>
          <a:xfrm>
            <a:off x="10553833" y="61101"/>
            <a:ext cx="914400" cy="1705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800"/>
              <a:t>Data Integration team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4DF38D6D-5748-5FAF-F418-BFA9C89B8092}"/>
              </a:ext>
            </a:extLst>
          </p:cNvPr>
          <p:cNvSpPr txBox="1"/>
          <p:nvPr/>
        </p:nvSpPr>
        <p:spPr>
          <a:xfrm>
            <a:off x="10563946" y="184798"/>
            <a:ext cx="914400" cy="1705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800" err="1"/>
              <a:t>MLOps</a:t>
            </a:r>
            <a:r>
              <a:rPr lang="en-US" sz="800"/>
              <a:t> Team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E900089E-60AA-4800-155A-85E11331EF65}"/>
              </a:ext>
            </a:extLst>
          </p:cNvPr>
          <p:cNvSpPr txBox="1"/>
          <p:nvPr/>
        </p:nvSpPr>
        <p:spPr>
          <a:xfrm>
            <a:off x="10553833" y="340669"/>
            <a:ext cx="914400" cy="1705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800"/>
              <a:t>Feature Library Team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A0A6E29-DF02-875C-C4D5-37D0D95638A1}"/>
              </a:ext>
            </a:extLst>
          </p:cNvPr>
          <p:cNvSpPr txBox="1"/>
          <p:nvPr/>
        </p:nvSpPr>
        <p:spPr>
          <a:xfrm>
            <a:off x="10553833" y="482921"/>
            <a:ext cx="914400" cy="1705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800"/>
              <a:t>Data Scientist Team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E29AFE1A-126A-610C-1692-DC9518833670}"/>
              </a:ext>
            </a:extLst>
          </p:cNvPr>
          <p:cNvSpPr txBox="1"/>
          <p:nvPr/>
        </p:nvSpPr>
        <p:spPr>
          <a:xfrm>
            <a:off x="10571905" y="614722"/>
            <a:ext cx="914400" cy="1705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800"/>
              <a:t>HMS SSIS Team</a:t>
            </a:r>
          </a:p>
        </p:txBody>
      </p:sp>
      <p:pic>
        <p:nvPicPr>
          <p:cNvPr id="131" name="Picture 130">
            <a:extLst>
              <a:ext uri="{FF2B5EF4-FFF2-40B4-BE49-F238E27FC236}">
                <a16:creationId xmlns:a16="http://schemas.microsoft.com/office/drawing/2014/main" id="{6C411343-0F2D-5E59-789A-D3BEC235D1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73988" y="761592"/>
            <a:ext cx="1048920" cy="358094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01B7CBCD-0ACD-7CBE-0F80-94DD2118B5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50906" y="842767"/>
            <a:ext cx="1048920" cy="319217"/>
          </a:xfrm>
          <a:prstGeom prst="rect">
            <a:avLst/>
          </a:prstGeom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53D96635-6FBF-3551-F35C-132A741E3BB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96910" y="2766872"/>
            <a:ext cx="1003079" cy="341473"/>
          </a:xfrm>
          <a:prstGeom prst="rect">
            <a:avLst/>
          </a:prstGeom>
        </p:spPr>
      </p:pic>
      <p:pic>
        <p:nvPicPr>
          <p:cNvPr id="137" name="Picture 136">
            <a:extLst>
              <a:ext uri="{FF2B5EF4-FFF2-40B4-BE49-F238E27FC236}">
                <a16:creationId xmlns:a16="http://schemas.microsoft.com/office/drawing/2014/main" id="{C560E62F-B09E-1C3B-5026-73D2F2554D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15584" y="5228402"/>
            <a:ext cx="927650" cy="270196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4C7A70E7-098E-350C-A57D-04601258158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88864" y="953192"/>
            <a:ext cx="803208" cy="295365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B2C7530D-ECC5-EFEB-9534-997B39D432A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35688" y="6354062"/>
            <a:ext cx="803208" cy="295365"/>
          </a:xfrm>
          <a:prstGeom prst="rect">
            <a:avLst/>
          </a:prstGeom>
        </p:spPr>
      </p:pic>
      <p:cxnSp>
        <p:nvCxnSpPr>
          <p:cNvPr id="149" name="Straight Connector 148" descr="All Decorative">
            <a:extLst>
              <a:ext uri="{FF2B5EF4-FFF2-40B4-BE49-F238E27FC236}">
                <a16:creationId xmlns:a16="http://schemas.microsoft.com/office/drawing/2014/main" id="{18F1EF61-822A-740A-F22A-4BAB64C92D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  <a:stCxn id="53" idx="2"/>
            <a:endCxn id="157" idx="0"/>
          </p:cNvCxnSpPr>
          <p:nvPr/>
        </p:nvCxnSpPr>
        <p:spPr>
          <a:xfrm flipH="1">
            <a:off x="5806456" y="2299227"/>
            <a:ext cx="994" cy="569719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 descr="All Decorative">
            <a:extLst>
              <a:ext uri="{FF2B5EF4-FFF2-40B4-BE49-F238E27FC236}">
                <a16:creationId xmlns:a16="http://schemas.microsoft.com/office/drawing/2014/main" id="{E982B2EF-0379-BA3F-F61C-8CBC4F0D526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/>
        </p:nvCxnSpPr>
        <p:spPr>
          <a:xfrm>
            <a:off x="5938439" y="2968438"/>
            <a:ext cx="839216" cy="0"/>
          </a:xfrm>
          <a:prstGeom prst="line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Circle: Hollow 127" descr="All Decorative">
            <a:extLst>
              <a:ext uri="{FF2B5EF4-FFF2-40B4-BE49-F238E27FC236}">
                <a16:creationId xmlns:a16="http://schemas.microsoft.com/office/drawing/2014/main" id="{5D321778-9130-483A-83C0-5E6E80A5302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5674473" y="2868946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160" name="Circle: Hollow 127" descr="All Decorative">
            <a:extLst>
              <a:ext uri="{FF2B5EF4-FFF2-40B4-BE49-F238E27FC236}">
                <a16:creationId xmlns:a16="http://schemas.microsoft.com/office/drawing/2014/main" id="{90069A0F-2B56-3353-36F1-1BE2D3058D1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7935820" y="5544992"/>
            <a:ext cx="263966" cy="263966"/>
          </a:xfrm>
          <a:prstGeom prst="donut">
            <a:avLst/>
          </a:prstGeom>
          <a:solidFill>
            <a:schemeClr val="accent1"/>
          </a:solidFill>
          <a:ln>
            <a:noFill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pic>
        <p:nvPicPr>
          <p:cNvPr id="172" name="Picture 171">
            <a:extLst>
              <a:ext uri="{FF2B5EF4-FFF2-40B4-BE49-F238E27FC236}">
                <a16:creationId xmlns:a16="http://schemas.microsoft.com/office/drawing/2014/main" id="{B06E4853-4E31-961C-D362-9ADC4EEE43D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75979" y="3099103"/>
            <a:ext cx="746698" cy="316732"/>
          </a:xfrm>
          <a:prstGeom prst="rect">
            <a:avLst/>
          </a:prstGeom>
        </p:spPr>
      </p:pic>
      <p:pic>
        <p:nvPicPr>
          <p:cNvPr id="173" name="Picture 172">
            <a:extLst>
              <a:ext uri="{FF2B5EF4-FFF2-40B4-BE49-F238E27FC236}">
                <a16:creationId xmlns:a16="http://schemas.microsoft.com/office/drawing/2014/main" id="{44CD3E7E-8A39-9330-7214-E8E691DDB48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45914" y="3081671"/>
            <a:ext cx="730238" cy="34732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D608DD6-5E42-7955-FE81-7C000DDA92E6}"/>
              </a:ext>
            </a:extLst>
          </p:cNvPr>
          <p:cNvSpPr txBox="1"/>
          <p:nvPr/>
        </p:nvSpPr>
        <p:spPr>
          <a:xfrm>
            <a:off x="2509657" y="4530495"/>
            <a:ext cx="360727" cy="2216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❶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F1C00B3-C136-3227-DB64-CBEE9E2DFA9C}"/>
              </a:ext>
            </a:extLst>
          </p:cNvPr>
          <p:cNvSpPr txBox="1"/>
          <p:nvPr/>
        </p:nvSpPr>
        <p:spPr>
          <a:xfrm>
            <a:off x="7333211" y="4577802"/>
            <a:ext cx="360727" cy="2216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❷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58A2BB-F0BD-37E7-FDFF-83D0DEF6BBDD}"/>
              </a:ext>
            </a:extLst>
          </p:cNvPr>
          <p:cNvSpPr txBox="1"/>
          <p:nvPr/>
        </p:nvSpPr>
        <p:spPr>
          <a:xfrm>
            <a:off x="9074279" y="4535811"/>
            <a:ext cx="360727" cy="2216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❸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391333E-5E86-CD6B-FD04-4AEC47CB3E82}"/>
              </a:ext>
            </a:extLst>
          </p:cNvPr>
          <p:cNvSpPr txBox="1"/>
          <p:nvPr/>
        </p:nvSpPr>
        <p:spPr>
          <a:xfrm>
            <a:off x="10848741" y="4530495"/>
            <a:ext cx="360727" cy="2216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❹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89FB09A-006A-CD58-3B74-AE63D717D23C}"/>
              </a:ext>
            </a:extLst>
          </p:cNvPr>
          <p:cNvSpPr txBox="1"/>
          <p:nvPr/>
        </p:nvSpPr>
        <p:spPr>
          <a:xfrm>
            <a:off x="3529663" y="5711816"/>
            <a:ext cx="360727" cy="2216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❺</a:t>
            </a:r>
            <a:endParaRPr lang="en-US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5119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 descr="page number">
            <a:extLst>
              <a:ext uri="{FF2B5EF4-FFF2-40B4-BE49-F238E27FC236}">
                <a16:creationId xmlns:a16="http://schemas.microsoft.com/office/drawing/2014/main" id="{8722D2DD-E452-B748-83F2-82685792F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26" name="Text Placeholder" descr="Content Block">
            <a:extLst>
              <a:ext uri="{FF2B5EF4-FFF2-40B4-BE49-F238E27FC236}">
                <a16:creationId xmlns:a16="http://schemas.microsoft.com/office/drawing/2014/main" id="{4166A99B-5D31-B248-B1FF-A9B0DDF8EE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940958"/>
            <a:ext cx="11277600" cy="4894265"/>
          </a:xfrm>
        </p:spPr>
        <p:txBody>
          <a:bodyPr>
            <a:normAutofit/>
          </a:bodyPr>
          <a:lstStyle/>
          <a:p>
            <a:pPr marL="0" indent="0">
              <a:buNone/>
            </a:pPr>
            <a:br>
              <a:rPr lang="en-US"/>
            </a:br>
            <a:endParaRPr lang="en-US"/>
          </a:p>
        </p:txBody>
      </p:sp>
      <p:sp>
        <p:nvSpPr>
          <p:cNvPr id="2" name="Title 1" descr="Title Block">
            <a:extLst>
              <a:ext uri="{FF2B5EF4-FFF2-40B4-BE49-F238E27FC236}">
                <a16:creationId xmlns:a16="http://schemas.microsoft.com/office/drawing/2014/main" id="{92C31FC9-049D-9F44-98B9-9EBAF070BB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Validation Comparison	</a:t>
            </a:r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C4B6CBE1-722C-5CBD-316E-CCB7E72138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219" y="933532"/>
            <a:ext cx="7072313" cy="544353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7190E17-220E-0978-F206-4454DCB4B279}"/>
              </a:ext>
            </a:extLst>
          </p:cNvPr>
          <p:cNvSpPr txBox="1"/>
          <p:nvPr/>
        </p:nvSpPr>
        <p:spPr>
          <a:xfrm>
            <a:off x="2700523" y="3991828"/>
            <a:ext cx="360727" cy="2216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❶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972B9B-5CCF-9FDA-15D5-964B590DDB2A}"/>
              </a:ext>
            </a:extLst>
          </p:cNvPr>
          <p:cNvSpPr txBox="1"/>
          <p:nvPr/>
        </p:nvSpPr>
        <p:spPr>
          <a:xfrm>
            <a:off x="3430195" y="5817255"/>
            <a:ext cx="360727" cy="2216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❷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6332AB-7B47-CCDD-7195-7BFAE6A1E8FE}"/>
              </a:ext>
            </a:extLst>
          </p:cNvPr>
          <p:cNvSpPr txBox="1"/>
          <p:nvPr/>
        </p:nvSpPr>
        <p:spPr>
          <a:xfrm>
            <a:off x="5600740" y="3655301"/>
            <a:ext cx="360727" cy="2216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❸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EF1DEC6-8EC1-608F-6403-32B5D406450C}"/>
              </a:ext>
            </a:extLst>
          </p:cNvPr>
          <p:cNvSpPr txBox="1"/>
          <p:nvPr/>
        </p:nvSpPr>
        <p:spPr>
          <a:xfrm>
            <a:off x="6782995" y="2968492"/>
            <a:ext cx="360727" cy="2216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❹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B17E57D-8436-700A-EB71-48A27BAEED34}"/>
              </a:ext>
            </a:extLst>
          </p:cNvPr>
          <p:cNvSpPr txBox="1"/>
          <p:nvPr/>
        </p:nvSpPr>
        <p:spPr>
          <a:xfrm>
            <a:off x="6363777" y="928258"/>
            <a:ext cx="360727" cy="2216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❺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6357482-AEEB-86B7-501A-6FF895EFFED4}"/>
              </a:ext>
            </a:extLst>
          </p:cNvPr>
          <p:cNvSpPr txBox="1"/>
          <p:nvPr/>
        </p:nvSpPr>
        <p:spPr>
          <a:xfrm>
            <a:off x="8407401" y="674703"/>
            <a:ext cx="3240102" cy="421733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This UML static model is language independent.  The modular design and workflow should be translated as-is.</a:t>
            </a:r>
          </a:p>
          <a:p>
            <a:pPr algn="l"/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The results of pipeline stages 1, 2, 4, and 5 must be identical.</a:t>
            </a:r>
          </a:p>
          <a:p>
            <a:pPr algn="l"/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The results of stage 3 can be almost equal within a small threshold.</a:t>
            </a:r>
          </a:p>
          <a:p>
            <a:pPr algn="l"/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The productized Python code that encapsulates these five stages can be found </a:t>
            </a:r>
            <a:r>
              <a:rPr lang="en-US">
                <a:hlinkClick r:id="rId3"/>
              </a:rPr>
              <a:t>here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77160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E02030CA-F383-8C4B-97ED-1AB3E0B2D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AE25B007-6274-2740-AF1D-16A4DE52481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68529" y="3823506"/>
            <a:ext cx="5537200" cy="235277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/>
              <a:t>Output :</a:t>
            </a:r>
          </a:p>
          <a:p>
            <a:pPr marL="0" indent="0">
              <a:buNone/>
            </a:pPr>
            <a: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  <a:t>SUCCESS: Client cannot be scored as there is no Database name in </a:t>
            </a:r>
            <a:r>
              <a:rPr lang="en-US" sz="1200" err="1">
                <a:solidFill>
                  <a:schemeClr val="tx1"/>
                </a:solidFill>
                <a:latin typeface="Consolas" panose="020B0609020204030204" pitchFamily="49" charset="0"/>
              </a:rPr>
              <a:t>postgres</a:t>
            </a:r>
            <a: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  <a:t> database for client : NTCA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10526F55-CF81-6346-B08D-A3203E30F62E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600"/>
              <a:t>Test Case 2 :</a:t>
            </a:r>
            <a:br>
              <a:rPr lang="en-US" sz="1500" b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r>
              <a:rPr lang="en-US" sz="1500" b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When there is member with </a:t>
            </a:r>
            <a:r>
              <a:rPr lang="en-US" sz="1500" b="0" err="1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scstatus</a:t>
            </a:r>
            <a:r>
              <a:rPr lang="en-US" sz="1500" b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500" b="0" err="1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pendng</a:t>
            </a:r>
            <a:r>
              <a:rPr lang="en-US" sz="1500" b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but doesn’t have database name mentioned in it</a:t>
            </a:r>
            <a:br>
              <a:rPr lang="en-US" b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  <a:t>Query to update on </a:t>
            </a:r>
            <a:r>
              <a:rPr lang="en-US" sz="1200" err="1">
                <a:solidFill>
                  <a:schemeClr val="tx1"/>
                </a:solidFill>
                <a:latin typeface="Consolas" panose="020B0609020204030204" pitchFamily="49" charset="0"/>
              </a:rPr>
              <a:t>postgre</a:t>
            </a:r>
            <a: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  <a:t> for testing:</a:t>
            </a:r>
            <a:br>
              <a:rPr lang="en-US" sz="1200">
                <a:solidFill>
                  <a:schemeClr val="accent1">
                    <a:lumMod val="40000"/>
                    <a:lumOff val="60000"/>
                  </a:schemeClr>
                </a:solidFill>
                <a:latin typeface="Consolas" panose="020B0609020204030204" pitchFamily="49" charset="0"/>
              </a:rPr>
            </a:br>
            <a:br>
              <a:rPr lang="en-US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</a:br>
            <a:r>
              <a:rPr lang="en-US" sz="14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UPDATE</a:t>
            </a:r>
            <a:r>
              <a:rPr lang="en-US" sz="14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scorupdt00_scorupdt00"</a:t>
            </a:r>
            <a:r>
              <a:rPr lang="en-US" sz="14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ET</a:t>
            </a:r>
            <a:r>
              <a:rPr lang="en-US" sz="14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4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cstatus</a:t>
            </a:r>
            <a:r>
              <a:rPr lang="en-US" sz="14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4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4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PENDNG'</a:t>
            </a:r>
            <a:r>
              <a:rPr lang="en-US" sz="14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where</a:t>
            </a:r>
            <a:r>
              <a:rPr lang="en-US" sz="14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4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cidno</a:t>
            </a:r>
            <a:r>
              <a:rPr lang="en-US" sz="14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4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4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28908’</a:t>
            </a:r>
            <a:br>
              <a:rPr lang="en-US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</a:br>
            <a:br>
              <a:rPr lang="en-US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</a:br>
            <a:r>
              <a:rPr lang="en-US" sz="1300" b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//</a:t>
            </a:r>
            <a:r>
              <a:rPr lang="en-US" sz="1300" b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scidno</a:t>
            </a:r>
            <a:r>
              <a:rPr lang="en-US" sz="130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=‘28908’ has no database name</a:t>
            </a:r>
            <a:endParaRPr lang="en-US" sz="1300" b="0">
              <a:solidFill>
                <a:schemeClr val="bg1">
                  <a:lumMod val="65000"/>
                </a:schemeClr>
              </a:solidFill>
              <a:effectLst/>
              <a:latin typeface="Consolas" panose="020B0609020204030204" pitchFamily="49" charset="0"/>
            </a:endParaRPr>
          </a:p>
          <a:p>
            <a:pPr marL="0" indent="0">
              <a:buNone/>
            </a:pPr>
            <a:endParaRPr lang="en-US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CED011C9-FE6A-5A4B-9ABC-A5FEB27CBBA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7196" y="1307940"/>
            <a:ext cx="5537200" cy="2352771"/>
          </a:xfrm>
        </p:spPr>
        <p:txBody>
          <a:bodyPr/>
          <a:lstStyle/>
          <a:p>
            <a:pPr marL="0" indent="0">
              <a:buNone/>
            </a:pPr>
            <a:r>
              <a:rPr lang="en-US" sz="1600"/>
              <a:t>Test Case 1 :</a:t>
            </a:r>
            <a:br>
              <a:rPr lang="en-US" sz="1500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 sz="1500">
                <a:solidFill>
                  <a:schemeClr val="tx1"/>
                </a:solidFill>
                <a:latin typeface="Consolas" panose="020B0609020204030204" pitchFamily="49" charset="0"/>
              </a:rPr>
              <a:t>When there are no member with </a:t>
            </a:r>
            <a:r>
              <a:rPr lang="en-US" sz="1500" err="1">
                <a:solidFill>
                  <a:schemeClr val="tx1"/>
                </a:solidFill>
                <a:latin typeface="Consolas" panose="020B0609020204030204" pitchFamily="49" charset="0"/>
              </a:rPr>
              <a:t>scstatus</a:t>
            </a:r>
            <a:r>
              <a:rPr lang="en-US" sz="1500">
                <a:solidFill>
                  <a:schemeClr val="tx1"/>
                </a:solidFill>
                <a:latin typeface="Consolas" panose="020B0609020204030204" pitchFamily="49" charset="0"/>
              </a:rPr>
              <a:t> </a:t>
            </a:r>
            <a:r>
              <a:rPr lang="en-US" sz="1500" err="1">
                <a:solidFill>
                  <a:schemeClr val="tx1"/>
                </a:solidFill>
                <a:latin typeface="Consolas" panose="020B0609020204030204" pitchFamily="49" charset="0"/>
              </a:rPr>
              <a:t>pendng</a:t>
            </a:r>
            <a:br>
              <a:rPr lang="en-US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  <a:t>Query to update on </a:t>
            </a:r>
            <a:r>
              <a:rPr lang="en-US" sz="1200" err="1">
                <a:solidFill>
                  <a:schemeClr val="tx1"/>
                </a:solidFill>
                <a:latin typeface="Consolas" panose="020B0609020204030204" pitchFamily="49" charset="0"/>
              </a:rPr>
              <a:t>postgre</a:t>
            </a:r>
            <a: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  <a:t> for testing:</a:t>
            </a:r>
            <a:br>
              <a:rPr lang="en-US" sz="1200">
                <a:solidFill>
                  <a:schemeClr val="accent1">
                    <a:lumMod val="40000"/>
                    <a:lumOff val="60000"/>
                  </a:schemeClr>
                </a:solidFill>
                <a:latin typeface="Consolas" panose="020B0609020204030204" pitchFamily="49" charset="0"/>
              </a:rPr>
            </a:br>
            <a:br>
              <a:rPr lang="en-US">
                <a:solidFill>
                  <a:schemeClr val="accent1">
                    <a:lumMod val="40000"/>
                    <a:lumOff val="60000"/>
                  </a:schemeClr>
                </a:solidFill>
                <a:latin typeface="Consolas" panose="020B0609020204030204" pitchFamily="49" charset="0"/>
              </a:rPr>
            </a:br>
            <a:r>
              <a:rPr lang="en-US" sz="13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UPDATE</a:t>
            </a:r>
            <a:r>
              <a:rPr lang="en-US" sz="13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3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scorupdt00_scorupdt00"</a:t>
            </a:r>
            <a:r>
              <a:rPr lang="en-US" sz="13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3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ET</a:t>
            </a:r>
            <a:r>
              <a:rPr lang="en-US" sz="13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3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3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cstatus</a:t>
            </a:r>
            <a:r>
              <a:rPr lang="en-US" sz="13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3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3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‘SCORED'</a:t>
            </a:r>
            <a:r>
              <a:rPr lang="en-US" sz="13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3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where</a:t>
            </a:r>
            <a:r>
              <a:rPr lang="en-US" sz="13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3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3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cstatus</a:t>
            </a:r>
            <a:r>
              <a:rPr lang="en-US" sz="13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3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3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PENDNG’</a:t>
            </a:r>
          </a:p>
          <a:p>
            <a:endParaRPr lang="en-US">
              <a:solidFill>
                <a:srgbClr val="CE9178"/>
              </a:solidFill>
              <a:latin typeface="Consolas" panose="020B0609020204030204" pitchFamily="49" charset="0"/>
            </a:endParaRPr>
          </a:p>
          <a:p>
            <a:endParaRPr lang="en-US">
              <a:solidFill>
                <a:schemeClr val="accent1">
                  <a:lumMod val="40000"/>
                  <a:lumOff val="60000"/>
                </a:schemeClr>
              </a:solidFill>
              <a:latin typeface="Consolas" panose="020B0609020204030204" pitchFamily="49" charset="0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0342C096-3C59-4444-B835-0B82CF13AB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4476" y="1298897"/>
            <a:ext cx="5537200" cy="235308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/>
              <a:t>Output :</a:t>
            </a:r>
            <a:br>
              <a:rPr lang="en-US"/>
            </a:br>
            <a:br>
              <a:rPr lang="en-US"/>
            </a:br>
            <a: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  <a:t>SUCCESS: There are no </a:t>
            </a:r>
            <a:r>
              <a:rPr lang="en-US" sz="1200" err="1">
                <a:solidFill>
                  <a:schemeClr val="tx1"/>
                </a:solidFill>
                <a:latin typeface="Consolas" panose="020B0609020204030204" pitchFamily="49" charset="0"/>
              </a:rPr>
              <a:t>member_key</a:t>
            </a:r>
            <a: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  <a:t> with </a:t>
            </a:r>
            <a:r>
              <a:rPr lang="en-US" sz="1200" err="1">
                <a:solidFill>
                  <a:schemeClr val="tx1"/>
                </a:solidFill>
                <a:latin typeface="Consolas" panose="020B0609020204030204" pitchFamily="49" charset="0"/>
              </a:rPr>
              <a:t>scstatus</a:t>
            </a:r>
            <a: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  <a:t>='PENDNG'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62D86179-C282-B447-AC41-D54AC0E976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I-</a:t>
            </a:r>
            <a:r>
              <a:rPr lang="en-US" err="1"/>
              <a:t>tpl</a:t>
            </a:r>
            <a:r>
              <a:rPr lang="en-US"/>
              <a:t>-</a:t>
            </a:r>
            <a:r>
              <a:rPr lang="en-US" err="1"/>
              <a:t>DataIncoming</a:t>
            </a:r>
            <a:r>
              <a:rPr lang="en-US"/>
              <a:t> Oozie workflow test case</a:t>
            </a:r>
          </a:p>
        </p:txBody>
      </p:sp>
    </p:spTree>
    <p:extLst>
      <p:ext uri="{BB962C8B-B14F-4D97-AF65-F5344CB8AC3E}">
        <p14:creationId xmlns:p14="http://schemas.microsoft.com/office/powerpoint/2010/main" val="3630823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176C69-4C28-4D28-A058-ABDA66C022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I-</a:t>
            </a:r>
            <a:r>
              <a:rPr lang="en-US" err="1"/>
              <a:t>tpl</a:t>
            </a:r>
            <a:r>
              <a:rPr lang="en-US"/>
              <a:t>-</a:t>
            </a:r>
            <a:r>
              <a:rPr lang="en-US" err="1"/>
              <a:t>DataIncoming</a:t>
            </a:r>
            <a:r>
              <a:rPr lang="en-US"/>
              <a:t> Oozie workflow test ca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C4CB7A-3D14-6B15-DB00-438E28F719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8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E04912-C88C-6BB0-B470-64769547F9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914401"/>
            <a:ext cx="5537200" cy="235246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1600"/>
              <a:t>Test Case 3:</a:t>
            </a:r>
            <a:br>
              <a:rPr lang="en-US" sz="1500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 sz="1500">
                <a:solidFill>
                  <a:schemeClr val="tx1"/>
                </a:solidFill>
                <a:latin typeface="Consolas" panose="020B0609020204030204" pitchFamily="49" charset="0"/>
              </a:rPr>
              <a:t>When there are some member with pending status and member details with/without database name</a:t>
            </a:r>
            <a:br>
              <a:rPr lang="en-US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 sz="1300">
                <a:solidFill>
                  <a:schemeClr val="tx1"/>
                </a:solidFill>
                <a:latin typeface="Consolas" panose="020B0609020204030204" pitchFamily="49" charset="0"/>
              </a:rPr>
              <a:t>Query to update on </a:t>
            </a:r>
            <a:r>
              <a:rPr lang="en-US" sz="1300" err="1">
                <a:solidFill>
                  <a:schemeClr val="tx1"/>
                </a:solidFill>
                <a:latin typeface="Consolas" panose="020B0609020204030204" pitchFamily="49" charset="0"/>
              </a:rPr>
              <a:t>postgre</a:t>
            </a:r>
            <a:r>
              <a:rPr lang="en-US" sz="1300">
                <a:solidFill>
                  <a:schemeClr val="tx1"/>
                </a:solidFill>
                <a:latin typeface="Consolas" panose="020B0609020204030204" pitchFamily="49" charset="0"/>
              </a:rPr>
              <a:t> for testing:</a:t>
            </a:r>
            <a:b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</a:br>
            <a:br>
              <a:rPr lang="en-US" sz="1500"/>
            </a:br>
            <a:r>
              <a:rPr lang="en-US" sz="15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UPDATE</a:t>
            </a:r>
            <a:r>
              <a:rPr lang="en-US" sz="15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5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scorupdt00_scorupdt00"</a:t>
            </a:r>
            <a:r>
              <a:rPr lang="en-US" sz="15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5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ET</a:t>
            </a:r>
            <a:r>
              <a:rPr lang="en-US" sz="15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5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5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cstatus</a:t>
            </a:r>
            <a:r>
              <a:rPr lang="en-US" sz="15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5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5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PENDNG'</a:t>
            </a:r>
            <a:r>
              <a:rPr lang="en-US" sz="15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5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where</a:t>
            </a:r>
            <a:r>
              <a:rPr lang="en-US" sz="15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5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5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cidno</a:t>
            </a:r>
            <a:r>
              <a:rPr lang="en-US" sz="15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5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5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</a:t>
            </a:r>
            <a:r>
              <a:rPr lang="en-US" sz="15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sz="15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28908'</a:t>
            </a:r>
            <a:r>
              <a:rPr lang="en-US" sz="15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5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2447042'</a:t>
            </a:r>
            <a:r>
              <a:rPr lang="en-US" sz="15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5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2157602'</a:t>
            </a:r>
            <a:r>
              <a:rPr lang="en-US" sz="15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5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2382960’</a:t>
            </a:r>
            <a:r>
              <a:rPr lang="en-US" sz="15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lang="en-US" sz="15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b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sz="1500" b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//NTCA, DS_NTCA, DS_UPS, DS_MARRIOT</a:t>
            </a:r>
          </a:p>
          <a:p>
            <a:pPr marL="0" indent="0">
              <a:buNone/>
            </a:pP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0EFAA19-20D6-3937-D490-DE7FCBDA80B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914100"/>
            <a:ext cx="5537200" cy="235277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/>
              <a:t>Output :</a:t>
            </a:r>
            <a:br>
              <a:rPr lang="en-US"/>
            </a:b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  <a:t>done, DS_SODEXO file exported</a:t>
            </a:r>
            <a:b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  <a:t>done, Final file exported</a:t>
            </a:r>
            <a:b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</a:br>
            <a:b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  <a:t>done, DS_DEVOTED file exported</a:t>
            </a:r>
            <a:b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  <a:t>done, Final file exported</a:t>
            </a:r>
            <a:b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</a:br>
            <a:b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  <a:t>Client cannot be scored as there is no Database name in </a:t>
            </a:r>
            <a:r>
              <a:rPr lang="en-US" sz="1200" err="1">
                <a:solidFill>
                  <a:schemeClr val="tx1"/>
                </a:solidFill>
                <a:latin typeface="Consolas" panose="020B0609020204030204" pitchFamily="49" charset="0"/>
              </a:rPr>
              <a:t>postgres</a:t>
            </a:r>
            <a: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  <a:t> database for client : NTCA</a:t>
            </a:r>
            <a:b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</a:br>
            <a:b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 sz="1200">
                <a:solidFill>
                  <a:schemeClr val="tx1"/>
                </a:solidFill>
                <a:latin typeface="Consolas" panose="020B0609020204030204" pitchFamily="49" charset="0"/>
              </a:rPr>
              <a:t>final code done</a:t>
            </a:r>
            <a:endParaRPr lang="en-US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E313A3C-D7E8-F75D-27A7-358236B2F98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7199" y="3518903"/>
            <a:ext cx="5537200" cy="2998176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2000"/>
              <a:t>Test Case 4:</a:t>
            </a:r>
            <a:br>
              <a:rPr lang="en-US" sz="2000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>
                <a:solidFill>
                  <a:schemeClr val="tx1"/>
                </a:solidFill>
                <a:latin typeface="Consolas" panose="020B0609020204030204" pitchFamily="49" charset="0"/>
              </a:rPr>
              <a:t>When all 9 clients are in pending status and member details with/without database name</a:t>
            </a:r>
            <a:br>
              <a:rPr lang="en-US">
                <a:solidFill>
                  <a:schemeClr val="tx1"/>
                </a:solidFill>
                <a:latin typeface="Consolas" panose="020B0609020204030204" pitchFamily="49" charset="0"/>
              </a:rPr>
            </a:br>
            <a:br>
              <a:rPr lang="en-US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 sz="1500">
                <a:solidFill>
                  <a:schemeClr val="tx1"/>
                </a:solidFill>
                <a:latin typeface="Consolas" panose="020B0609020204030204" pitchFamily="49" charset="0"/>
              </a:rPr>
              <a:t>Query to update on </a:t>
            </a:r>
            <a:r>
              <a:rPr lang="en-US" sz="1500" err="1">
                <a:solidFill>
                  <a:schemeClr val="tx1"/>
                </a:solidFill>
                <a:latin typeface="Consolas" panose="020B0609020204030204" pitchFamily="49" charset="0"/>
              </a:rPr>
              <a:t>postgre</a:t>
            </a:r>
            <a:r>
              <a:rPr lang="en-US" sz="1500">
                <a:solidFill>
                  <a:schemeClr val="tx1"/>
                </a:solidFill>
                <a:latin typeface="Consolas" panose="020B0609020204030204" pitchFamily="49" charset="0"/>
              </a:rPr>
              <a:t> for testing:</a:t>
            </a:r>
            <a:br>
              <a:rPr lang="en-US" sz="1500">
                <a:solidFill>
                  <a:schemeClr val="accent1">
                    <a:lumMod val="40000"/>
                    <a:lumOff val="60000"/>
                  </a:schemeClr>
                </a:solidFill>
                <a:latin typeface="Consolas" panose="020B0609020204030204" pitchFamily="49" charset="0"/>
              </a:rPr>
            </a:br>
            <a:br>
              <a:rPr lang="en-US">
                <a:solidFill>
                  <a:srgbClr val="7030A0"/>
                </a:solidFill>
                <a:latin typeface="Consolas" panose="020B0609020204030204" pitchFamily="49" charset="0"/>
              </a:rPr>
            </a:br>
            <a:r>
              <a:rPr lang="en-US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UPDATE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scorupdt00_scorupdt00"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ET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cstatus</a:t>
            </a:r>
            <a:r>
              <a:rPr lang="en-US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PENDNG'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where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cidno</a:t>
            </a:r>
            <a:r>
              <a:rPr lang="en-US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28908'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2447042'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2157602'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2382960'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2303122'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2175055'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pPr marL="0" indent="0">
              <a:buNone/>
            </a:pPr>
            <a:r>
              <a:rPr lang="en-US" b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//NTCA, DS_NTCA, DS_UPS, DS_MARRIOT, DS_DEVOTED, DS_SODEXO,….</a:t>
            </a:r>
            <a:br>
              <a:rPr lang="en-US" b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</a:br>
            <a:b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we have 9 current clients:  NRECA, UPS, Lumen, NTCA, UHC, Teamster TWRNJ, Sodexo, Marriott, and Devoted.</a:t>
            </a:r>
            <a:endParaRPr lang="en-US" b="0">
              <a:solidFill>
                <a:schemeClr val="bg1">
                  <a:lumMod val="50000"/>
                </a:schemeClr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696ADE0-49AE-0759-6B34-7225FED0AFA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4552" y="3617508"/>
            <a:ext cx="5537200" cy="2746529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/>
              <a:t>Output :</a:t>
            </a:r>
          </a:p>
          <a:p>
            <a:pPr marL="0" indent="0">
              <a:buNone/>
            </a:pPr>
            <a: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  <a:t>done, DS_SODEXO file exported</a:t>
            </a:r>
            <a:b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  <a:t>done, Final file exported</a:t>
            </a:r>
            <a:b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</a:br>
            <a:b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  <a:t>done, DS_DEVOTED file exported</a:t>
            </a:r>
            <a:b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  <a:t>done, Final file exported</a:t>
            </a:r>
            <a:b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  <a:t>…..</a:t>
            </a:r>
            <a:b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  <a:t>…..             // for all night clients  done, ****** file exported</a:t>
            </a:r>
            <a:b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  <a:t>…..	    // done Final file exported</a:t>
            </a:r>
          </a:p>
          <a:p>
            <a:pPr marL="0" indent="0">
              <a:buNone/>
            </a:pPr>
            <a: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  <a:t>Client cannot be scored as there is no Database name in </a:t>
            </a:r>
            <a:r>
              <a:rPr lang="en-US" sz="1700" err="1">
                <a:solidFill>
                  <a:schemeClr val="tx1"/>
                </a:solidFill>
                <a:latin typeface="Consolas" panose="020B0609020204030204" pitchFamily="49" charset="0"/>
              </a:rPr>
              <a:t>postgres</a:t>
            </a:r>
            <a: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  <a:t> database for client : NTCA</a:t>
            </a:r>
          </a:p>
          <a:p>
            <a:pPr marL="0" indent="0">
              <a:buNone/>
            </a:pPr>
            <a:b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</a:br>
            <a: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  <a:t>final code done</a:t>
            </a:r>
            <a:br>
              <a:rPr lang="en-US" sz="1700">
                <a:solidFill>
                  <a:schemeClr val="tx1"/>
                </a:solidFill>
                <a:latin typeface="Consolas" panose="020B0609020204030204" pitchFamily="49" charset="0"/>
              </a:rPr>
            </a:br>
            <a:endParaRPr lang="en-US" sz="170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90836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14748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ZG4Xsi8ujo4POZdcaa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sW.DIeOxRiDmUqeiCU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KIivFnFJr8zfOPH3IB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PtZwWNNZ_N4Z9Yz22P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fcNeXbrJyUhzm821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53FziJKxKTAmuRYooT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BFWjtxCEXwHOcxg5Wj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Gp8fk0OF3Czihc62mZg"/>
</p:tagLst>
</file>

<file path=ppt/theme/theme1.xml><?xml version="1.0" encoding="utf-8"?>
<a:theme xmlns:a="http://schemas.openxmlformats.org/drawingml/2006/main" name="PPT Template - Cotiviti Corporate">
  <a:themeElements>
    <a:clrScheme name="Custom 1">
      <a:dk1>
        <a:srgbClr val="000000"/>
      </a:dk1>
      <a:lt1>
        <a:srgbClr val="FFFFFF"/>
      </a:lt1>
      <a:dk2>
        <a:srgbClr val="FF8C00"/>
      </a:dk2>
      <a:lt2>
        <a:srgbClr val="A3D55F"/>
      </a:lt2>
      <a:accent1>
        <a:srgbClr val="30006F"/>
      </a:accent1>
      <a:accent2>
        <a:srgbClr val="9579D3"/>
      </a:accent2>
      <a:accent3>
        <a:srgbClr val="EC008C"/>
      </a:accent3>
      <a:accent4>
        <a:srgbClr val="209FED"/>
      </a:accent4>
      <a:accent5>
        <a:srgbClr val="F98E2B"/>
      </a:accent5>
      <a:accent6>
        <a:srgbClr val="00BCB5"/>
      </a:accent6>
      <a:hlink>
        <a:srgbClr val="9579D3"/>
      </a:hlink>
      <a:folHlink>
        <a:srgbClr val="9578D3"/>
      </a:folHlink>
    </a:clrScheme>
    <a:fontScheme name="Mont 2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 Template - Cotiviti Corporate" id="{25A6B0B1-0547-DB46-9D4F-6C829E1B244B}" vid="{3E1C8464-671B-DE4E-ADD8-3F89C38E63F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0314092FC43E47B482C30E8ABB972C" ma:contentTypeVersion="12" ma:contentTypeDescription="Create a new document." ma:contentTypeScope="" ma:versionID="b546072723b0dd3827aaca0b92b1eb73">
  <xsd:schema xmlns:xsd="http://www.w3.org/2001/XMLSchema" xmlns:xs="http://www.w3.org/2001/XMLSchema" xmlns:p="http://schemas.microsoft.com/office/2006/metadata/properties" xmlns:ns2="8bbd6924-e62c-4dd2-a872-7150e4a8d343" xmlns:ns3="b08ce299-4fa7-4e4b-b5be-c13a3fe4ceff" targetNamespace="http://schemas.microsoft.com/office/2006/metadata/properties" ma:root="true" ma:fieldsID="0564935417f60044b1a47ff9279e7708" ns2:_="" ns3:_="">
    <xsd:import namespace="8bbd6924-e62c-4dd2-a872-7150e4a8d343"/>
    <xsd:import namespace="b08ce299-4fa7-4e4b-b5be-c13a3fe4ce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bd6924-e62c-4dd2-a872-7150e4a8d3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4ebe00df-d97b-4d6c-b305-55c807d4998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8ce299-4fa7-4e4b-b5be-c13a3fe4ceff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684ea640-5c58-4c0a-b025-cd362d0c1603}" ma:internalName="TaxCatchAll" ma:showField="CatchAllData" ma:web="b08ce299-4fa7-4e4b-b5be-c13a3fe4ce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bbd6924-e62c-4dd2-a872-7150e4a8d343">
      <Terms xmlns="http://schemas.microsoft.com/office/infopath/2007/PartnerControls"/>
    </lcf76f155ced4ddcb4097134ff3c332f>
    <TaxCatchAll xmlns="b08ce299-4fa7-4e4b-b5be-c13a3fe4ceff" xsi:nil="true"/>
  </documentManagement>
</p:properties>
</file>

<file path=customXml/itemProps1.xml><?xml version="1.0" encoding="utf-8"?>
<ds:datastoreItem xmlns:ds="http://schemas.openxmlformats.org/officeDocument/2006/customXml" ds:itemID="{89721971-EA64-4852-BDAA-629B9AE14DB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69362AA-567C-472B-ADE0-2D544791A8FB}">
  <ds:schemaRefs>
    <ds:schemaRef ds:uri="8bbd6924-e62c-4dd2-a872-7150e4a8d343"/>
    <ds:schemaRef ds:uri="b08ce299-4fa7-4e4b-b5be-c13a3fe4cef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1BE0162-B3B5-4B02-9B39-8239381A7630}">
  <ds:schemaRefs>
    <ds:schemaRef ds:uri="8bbd6924-e62c-4dd2-a872-7150e4a8d343"/>
    <ds:schemaRef ds:uri="b08ce299-4fa7-4e4b-b5be-c13a3fe4cef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 - Cotiviti Corporate</Template>
  <Application>Microsoft Office PowerPoint</Application>
  <PresentationFormat>Widescreen</PresentationFormat>
  <Slides>9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PPT Template - Cotiviti Corporate</vt:lpstr>
      <vt:lpstr>On-Prem COB Subrogation and TPL end to end workflow</vt:lpstr>
      <vt:lpstr>Technologies used </vt:lpstr>
      <vt:lpstr>TPL Accent System flow</vt:lpstr>
      <vt:lpstr>On-Prem TPL End-to-end Workflow</vt:lpstr>
      <vt:lpstr>On-Prem TPL End-to-end Workflow with Data Validation</vt:lpstr>
      <vt:lpstr>Data Validation Comparison </vt:lpstr>
      <vt:lpstr>AI-tpl-DataIncoming Oozie workflow test case</vt:lpstr>
      <vt:lpstr>AI-tpl-DataIncoming Oozie workflow test case</vt:lpstr>
      <vt:lpstr>PowerPoint Presentation</vt:lpstr>
    </vt:vector>
  </TitlesOfParts>
  <Manager/>
  <Company>Cotiviti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B Subrogation and TPL Data Scoring Pipeline Architecture</dc:title>
  <dc:subject/>
  <dc:creator>Mistry, Rutvi</dc:creator>
  <cp:keywords/>
  <dc:description/>
  <cp:revision>1</cp:revision>
  <cp:lastPrinted>2021-12-14T17:29:48Z</cp:lastPrinted>
  <dcterms:created xsi:type="dcterms:W3CDTF">2023-02-06T21:01:51Z</dcterms:created>
  <dcterms:modified xsi:type="dcterms:W3CDTF">2023-03-07T21:14:5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0314092FC43E47B482C30E8ABB972C</vt:lpwstr>
  </property>
  <property fmtid="{D5CDD505-2E9C-101B-9397-08002B2CF9AE}" pid="3" name="MediaServiceImageTags">
    <vt:lpwstr/>
  </property>
</Properties>
</file>